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3987" r:id="rId5"/>
    <p:sldMasterId id="2147484010" r:id="rId6"/>
    <p:sldMasterId id="2147484042" r:id="rId7"/>
    <p:sldMasterId id="2147484085" r:id="rId8"/>
  </p:sldMasterIdLst>
  <p:notesMasterIdLst>
    <p:notesMasterId r:id="rId17"/>
  </p:notesMasterIdLst>
  <p:handoutMasterIdLst>
    <p:handoutMasterId r:id="rId18"/>
  </p:handoutMasterIdLst>
  <p:sldIdLst>
    <p:sldId id="805" r:id="rId9"/>
    <p:sldId id="865" r:id="rId10"/>
    <p:sldId id="861" r:id="rId11"/>
    <p:sldId id="859" r:id="rId12"/>
    <p:sldId id="863" r:id="rId13"/>
    <p:sldId id="864" r:id="rId14"/>
    <p:sldId id="862" r:id="rId15"/>
    <p:sldId id="591" r:id="rId16"/>
  </p:sldIdLst>
  <p:sldSz cx="9906000" cy="6858000" type="A4"/>
  <p:notesSz cx="7010400" cy="9296400"/>
  <p:custDataLst>
    <p:tags r:id="rId19"/>
  </p:custDataLst>
  <p:defaultTextStyle>
    <a:defPPr>
      <a:defRPr lang="de-DE"/>
    </a:defPPr>
    <a:lvl1pPr marL="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87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756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634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510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388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265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143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021" algn="l" defTabSz="95775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48">
          <p15:clr>
            <a:srgbClr val="A4A3A4"/>
          </p15:clr>
        </p15:guide>
        <p15:guide id="2" orient="horz" pos="942">
          <p15:clr>
            <a:srgbClr val="A4A3A4"/>
          </p15:clr>
        </p15:guide>
        <p15:guide id="3" orient="horz" pos="1062">
          <p15:clr>
            <a:srgbClr val="A4A3A4"/>
          </p15:clr>
        </p15:guide>
        <p15:guide id="4" orient="horz" pos="3620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pos="3120">
          <p15:clr>
            <a:srgbClr val="A4A3A4"/>
          </p15:clr>
        </p15:guide>
        <p15:guide id="7" pos="6026">
          <p15:clr>
            <a:srgbClr val="A4A3A4"/>
          </p15:clr>
        </p15:guide>
        <p15:guide id="8" pos="3042">
          <p15:clr>
            <a:srgbClr val="A4A3A4"/>
          </p15:clr>
        </p15:guide>
        <p15:guide id="9" pos="3198">
          <p15:clr>
            <a:srgbClr val="A4A3A4"/>
          </p15:clr>
        </p15:guide>
        <p15:guide id="10" pos="215">
          <p15:clr>
            <a:srgbClr val="A4A3A4"/>
          </p15:clr>
        </p15:guide>
        <p15:guide id="11" pos="316">
          <p15:clr>
            <a:srgbClr val="A4A3A4"/>
          </p15:clr>
        </p15:guide>
        <p15:guide id="12" pos="59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Spurgeon" initials="PS" lastIdx="1" clrIdx="0"/>
  <p:cmAuthor id="1" name="WOOD, DAVID J" initials="WDJ" lastIdx="14" clrIdx="1">
    <p:extLst>
      <p:ext uri="{19B8F6BF-5375-455C-9EA6-DF929625EA0E}">
        <p15:presenceInfo xmlns:p15="http://schemas.microsoft.com/office/powerpoint/2012/main" userId="S-1-5-21-2057499049-1289676208-1959431660-46964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4E7"/>
    <a:srgbClr val="22A1D8"/>
    <a:srgbClr val="0365AC"/>
    <a:srgbClr val="9BC3E7"/>
    <a:srgbClr val="00468C"/>
    <a:srgbClr val="5DBCD2"/>
    <a:srgbClr val="FFFF3E"/>
    <a:srgbClr val="FD6500"/>
    <a:srgbClr val="111111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96"/>
    <p:restoredTop sz="91433"/>
  </p:normalViewPr>
  <p:slideViewPr>
    <p:cSldViewPr snapToGrid="0">
      <p:cViewPr varScale="1">
        <p:scale>
          <a:sx n="76" d="100"/>
          <a:sy n="76" d="100"/>
        </p:scale>
        <p:origin x="970" y="48"/>
      </p:cViewPr>
      <p:guideLst>
        <p:guide orient="horz" pos="3948"/>
        <p:guide orient="horz" pos="942"/>
        <p:guide orient="horz" pos="1062"/>
        <p:guide orient="horz" pos="3620"/>
        <p:guide orient="horz" pos="2160"/>
        <p:guide pos="3120"/>
        <p:guide pos="6026"/>
        <p:guide pos="3042"/>
        <p:guide pos="3198"/>
        <p:guide pos="215"/>
        <p:guide pos="316"/>
        <p:guide pos="59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7010400" cy="464315"/>
          </a:xfrm>
          <a:prstGeom prst="rect">
            <a:avLst/>
          </a:prstGeom>
        </p:spPr>
        <p:txBody>
          <a:bodyPr vert="horz" lIns="34625" tIns="34625" rIns="242374" bIns="34625" rtlCol="0" anchor="ctr"/>
          <a:lstStyle>
            <a:lvl1pPr algn="l">
              <a:defRPr sz="1200"/>
            </a:lvl1pPr>
          </a:lstStyle>
          <a:p>
            <a:pPr algn="r"/>
            <a:endParaRPr lang="de-DE" sz="15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644"/>
            <a:ext cx="3038050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l">
              <a:defRPr sz="1200"/>
            </a:lvl1pPr>
          </a:lstStyle>
          <a:p>
            <a:r>
              <a:rPr lang="de-DE" sz="800">
                <a:latin typeface="Arial" pitchFamily="34" charset="0"/>
                <a:cs typeface="Arial" pitchFamily="34" charset="0"/>
              </a:rPr>
              <a:t>© 2012 Capgemini. All </a:t>
            </a:r>
            <a:r>
              <a:rPr lang="de-DE" sz="800" err="1">
                <a:latin typeface="Arial" pitchFamily="34" charset="0"/>
                <a:cs typeface="Arial" pitchFamily="34" charset="0"/>
              </a:rPr>
              <a:t>rights</a:t>
            </a:r>
            <a:r>
              <a:rPr lang="de-DE" sz="800">
                <a:latin typeface="Arial" pitchFamily="34" charset="0"/>
                <a:cs typeface="Arial" pitchFamily="34" charset="0"/>
              </a:rPr>
              <a:t> </a:t>
            </a:r>
            <a:r>
              <a:rPr lang="de-DE" sz="800" err="1">
                <a:latin typeface="Arial" pitchFamily="34" charset="0"/>
                <a:cs typeface="Arial" pitchFamily="34" charset="0"/>
              </a:rPr>
              <a:t>reserved</a:t>
            </a:r>
            <a:r>
              <a:rPr lang="de-DE" sz="80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84" y="8830644"/>
            <a:ext cx="3038050" cy="464315"/>
          </a:xfrm>
          <a:prstGeom prst="rect">
            <a:avLst/>
          </a:prstGeom>
        </p:spPr>
        <p:txBody>
          <a:bodyPr vert="horz" lIns="87947" tIns="43973" rIns="87947" bIns="43973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z="800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de-DE" sz="8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5172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1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en-US" smtClean="0"/>
              <a:pPr/>
              <a:t>1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7425" y="696913"/>
            <a:ext cx="503555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4" tIns="47632" rIns="95264" bIns="47632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5264" tIns="47632" rIns="95264" bIns="476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5264" tIns="47632" rIns="95264" bIns="47632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108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1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42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13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84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55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26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98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69" algn="l" defTabSz="9143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E7D22E-2FCF-4181-8686-08BDCDF9406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591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12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11.xml"/><Relationship Id="rId10" Type="http://schemas.openxmlformats.org/officeDocument/2006/relationships/image" Target="../media/image5.png"/><Relationship Id="rId4" Type="http://schemas.openxmlformats.org/officeDocument/2006/relationships/tags" Target="../tags/tag10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3.xml"/><Relationship Id="rId7" Type="http://schemas.openxmlformats.org/officeDocument/2006/relationships/image" Target="../media/image8.jpeg"/><Relationship Id="rId12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6.png"/><Relationship Id="rId5" Type="http://schemas.openxmlformats.org/officeDocument/2006/relationships/tags" Target="../tags/tag15.xml"/><Relationship Id="rId10" Type="http://schemas.openxmlformats.org/officeDocument/2006/relationships/image" Target="../media/image5.png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4.bin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6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.xml"/><Relationship Id="rId7" Type="http://schemas.openxmlformats.org/officeDocument/2006/relationships/oleObject" Target="../embeddings/oleObject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1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4982" y="5182510"/>
            <a:ext cx="8901878" cy="1188720"/>
          </a:xfrm>
          <a:effectLst/>
        </p:spPr>
        <p:txBody>
          <a:bodyPr lIns="0" tIns="33059" rIns="33059" bIns="33059"/>
          <a:lstStyle>
            <a:lvl1pPr algn="l">
              <a:defRPr sz="3300" b="0">
                <a:solidFill>
                  <a:schemeClr val="bg1"/>
                </a:solidFill>
                <a:effectLst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3467" y="6097281"/>
            <a:ext cx="4735513" cy="947750"/>
          </a:xfrm>
          <a:effectLst/>
        </p:spPr>
        <p:txBody>
          <a:bodyPr lIns="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AC1E969-0D7B-134B-9769-C21C54D6815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170" y="334639"/>
            <a:ext cx="1371600" cy="13716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5C559DF-0554-7F40-B6A8-E73DFC8A394A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528" y="494592"/>
            <a:ext cx="948970" cy="9344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BE846C3-AC44-724F-A10B-95A0A6167EB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09" y="624484"/>
            <a:ext cx="1583819" cy="7919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1">
    <p:bg>
      <p:bgPr>
        <a:blipFill dpi="0" rotWithShape="1">
          <a:blip r:embed="rId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3" y="0"/>
            <a:ext cx="9908534" cy="3329158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2188 w 10562411"/>
              <a:gd name="connsiteY0" fmla="*/ 0 h 3670551"/>
              <a:gd name="connsiteX1" fmla="*/ 10561655 w 10562411"/>
              <a:gd name="connsiteY1" fmla="*/ 712383 h 3670551"/>
              <a:gd name="connsiteX2" fmla="*/ 10561157 w 10562411"/>
              <a:gd name="connsiteY2" fmla="*/ 2188721 h 3670551"/>
              <a:gd name="connsiteX3" fmla="*/ 9288594 w 10562411"/>
              <a:gd name="connsiteY3" fmla="*/ 2865486 h 3670551"/>
              <a:gd name="connsiteX4" fmla="*/ 2317558 w 10562411"/>
              <a:gd name="connsiteY4" fmla="*/ 2871895 h 3670551"/>
              <a:gd name="connsiteX5" fmla="*/ 1180889 w 10562411"/>
              <a:gd name="connsiteY5" fmla="*/ 3670551 h 3670551"/>
              <a:gd name="connsiteX6" fmla="*/ 0 w 10562411"/>
              <a:gd name="connsiteY6" fmla="*/ 2886448 h 3670551"/>
              <a:gd name="connsiteX7" fmla="*/ 2188 w 10562411"/>
              <a:gd name="connsiteY7" fmla="*/ 0 h 3670551"/>
              <a:gd name="connsiteX0" fmla="*/ 2188 w 10562585"/>
              <a:gd name="connsiteY0" fmla="*/ 0 h 3670551"/>
              <a:gd name="connsiteX1" fmla="*/ 10562072 w 10562585"/>
              <a:gd name="connsiteY1" fmla="*/ 1 h 3670551"/>
              <a:gd name="connsiteX2" fmla="*/ 10561157 w 10562585"/>
              <a:gd name="connsiteY2" fmla="*/ 2188721 h 3670551"/>
              <a:gd name="connsiteX3" fmla="*/ 9288594 w 10562585"/>
              <a:gd name="connsiteY3" fmla="*/ 2865486 h 3670551"/>
              <a:gd name="connsiteX4" fmla="*/ 2317558 w 10562585"/>
              <a:gd name="connsiteY4" fmla="*/ 2871895 h 3670551"/>
              <a:gd name="connsiteX5" fmla="*/ 1180889 w 10562585"/>
              <a:gd name="connsiteY5" fmla="*/ 3670551 h 3670551"/>
              <a:gd name="connsiteX6" fmla="*/ 0 w 10562585"/>
              <a:gd name="connsiteY6" fmla="*/ 2886448 h 3670551"/>
              <a:gd name="connsiteX7" fmla="*/ 2188 w 10562585"/>
              <a:gd name="connsiteY7" fmla="*/ 0 h 3670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3670551">
                <a:moveTo>
                  <a:pt x="2188" y="0"/>
                </a:moveTo>
                <a:lnTo>
                  <a:pt x="10562072" y="1"/>
                </a:lnTo>
                <a:cubicBezTo>
                  <a:pt x="10562585" y="67601"/>
                  <a:pt x="10562411" y="2145306"/>
                  <a:pt x="10561157" y="2188721"/>
                </a:cubicBezTo>
                <a:cubicBezTo>
                  <a:pt x="10083761" y="2860730"/>
                  <a:pt x="9705180" y="2870806"/>
                  <a:pt x="9288594" y="2865486"/>
                </a:cubicBezTo>
                <a:lnTo>
                  <a:pt x="2317558" y="2871895"/>
                </a:lnTo>
                <a:cubicBezTo>
                  <a:pt x="1740344" y="2905037"/>
                  <a:pt x="1372498" y="3207729"/>
                  <a:pt x="1180889" y="3670551"/>
                </a:cubicBezTo>
                <a:cubicBezTo>
                  <a:pt x="882535" y="2966774"/>
                  <a:pt x="278640" y="2885570"/>
                  <a:pt x="0" y="2886448"/>
                </a:cubicBezTo>
                <a:cubicBezTo>
                  <a:pt x="2067" y="2850935"/>
                  <a:pt x="3460" y="95582"/>
                  <a:pt x="2188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736600"/>
            <a:ext cx="9906000" cy="1143000"/>
          </a:xfrm>
          <a:prstGeom prst="rect">
            <a:avLst/>
          </a:prstGeom>
        </p:spPr>
        <p:txBody>
          <a:bodyPr lIns="329184" tIns="36576" rIns="36576" bIns="36576" anchor="ctr"/>
          <a:lstStyle>
            <a:lvl1pPr>
              <a:buFontTx/>
              <a:buNone/>
              <a:defRPr sz="4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6069689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3120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116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9906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149" tIns="37149" rIns="37149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714" fontAlgn="base">
              <a:spcBef>
                <a:spcPct val="0"/>
              </a:spcBef>
              <a:spcAft>
                <a:spcPct val="0"/>
              </a:spcAft>
            </a:pPr>
            <a:endParaRPr lang="en-US" sz="1434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18757" y="1197322"/>
            <a:ext cx="9468486" cy="1627497"/>
          </a:xfrm>
        </p:spPr>
        <p:txBody>
          <a:bodyPr/>
          <a:lstStyle>
            <a:lvl1pPr marL="0" indent="0">
              <a:buNone/>
              <a:defRPr sz="2628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7602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46563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64879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837119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9890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89" y="3083652"/>
            <a:ext cx="2622043" cy="692057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18757" y="6171616"/>
            <a:ext cx="9468486" cy="32120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45669" tIns="116535" rIns="145669" bIns="116535" numCol="1" anchor="t" anchorCtr="0" compatLnSpc="1">
            <a:prstTxWarp prst="textNoShape">
              <a:avLst/>
            </a:prstTxWarp>
            <a:spAutoFit/>
          </a:bodyPr>
          <a:lstStyle/>
          <a:p>
            <a:pPr defTabSz="742569" eaLnBrk="0" hangingPunct="0"/>
            <a:r>
              <a:rPr lang="en-US" sz="558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364173" y="470067"/>
            <a:ext cx="1154917" cy="30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135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18757" y="1189177"/>
            <a:ext cx="9468487" cy="1984133"/>
          </a:xfrm>
          <a:prstGeom prst="rect">
            <a:avLst/>
          </a:prstGeom>
        </p:spPr>
        <p:txBody>
          <a:bodyPr/>
          <a:lstStyle>
            <a:lvl1pPr marL="231394" indent="-231394">
              <a:buClr>
                <a:schemeClr val="tx1"/>
              </a:buClr>
              <a:buSzPct val="90000"/>
              <a:buFont typeface="Arial" pitchFamily="34" charset="0"/>
              <a:buChar char="•"/>
              <a:defRPr sz="286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5200" indent="-223807">
              <a:buClr>
                <a:schemeClr val="tx1"/>
              </a:buClr>
              <a:buSzPct val="90000"/>
              <a:buFont typeface="Arial" pitchFamily="34" charset="0"/>
              <a:buChar char="•"/>
              <a:defRPr sz="254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686593" indent="-231394">
              <a:buClr>
                <a:schemeClr val="tx1"/>
              </a:buClr>
              <a:buSzPct val="90000"/>
              <a:buFont typeface="Arial" pitchFamily="34" charset="0"/>
              <a:buChar char="•"/>
              <a:defRPr sz="223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868673" indent="-182080">
              <a:buClr>
                <a:schemeClr val="tx1"/>
              </a:buClr>
              <a:buSzPct val="90000"/>
              <a:buFont typeface="Arial" pitchFamily="34" charset="0"/>
              <a:buChar char="•"/>
              <a:defRPr sz="1912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050753" indent="-182080">
              <a:buClr>
                <a:schemeClr val="tx1"/>
              </a:buClr>
              <a:buSzPct val="90000"/>
              <a:buFont typeface="Arial" pitchFamily="34" charset="0"/>
              <a:buChar char="•"/>
              <a:defRPr sz="159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9906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2947" spc="-4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56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text only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3760" y="1604798"/>
            <a:ext cx="9001792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25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nl-NL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0675" y="3094328"/>
            <a:ext cx="9004877" cy="1486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033" b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Click to edit the sub title</a:t>
            </a:r>
          </a:p>
        </p:txBody>
      </p:sp>
      <p:sp>
        <p:nvSpPr>
          <p:cNvPr id="8" name="AddCustomDate#1"/>
          <p:cNvSpPr txBox="1"/>
          <p:nvPr userDrawn="1"/>
        </p:nvSpPr>
        <p:spPr>
          <a:xfrm>
            <a:off x="235746" y="4965171"/>
            <a:ext cx="126182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90570"/>
            <a:r>
              <a:rPr lang="nl-NL" sz="130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dd-mm-yyyy</a:t>
            </a:r>
          </a:p>
        </p:txBody>
      </p:sp>
      <p:sp>
        <p:nvSpPr>
          <p:cNvPr id="10" name="AddClassification"/>
          <p:cNvSpPr txBox="1">
            <a:spLocks noChangeArrowheads="1"/>
          </p:cNvSpPr>
          <p:nvPr userDrawn="1"/>
        </p:nvSpPr>
        <p:spPr bwMode="auto">
          <a:xfrm>
            <a:off x="4162559" y="6195794"/>
            <a:ext cx="1580882" cy="225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algn="ctr" defTabSz="990570"/>
            <a:r>
              <a:rPr lang="en-US" sz="867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© Atos - 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14583381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0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9365739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sic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4529" y="1454400"/>
            <a:ext cx="9477000" cy="4633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First lev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0325" y="6309320"/>
            <a:ext cx="480207" cy="288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3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>
                <a:solidFill>
                  <a:prstClr val="black"/>
                </a:solidFill>
              </a:rPr>
              <a:pPr/>
              <a:t>‹#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234529" y="164637"/>
            <a:ext cx="9477000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767435088"/>
      </p:ext>
    </p:extLst>
  </p:cSld>
  <p:clrMapOvr>
    <a:masterClrMapping/>
  </p:clrMapOvr>
  <p:hf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2nd top lin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34529" y="1124745"/>
            <a:ext cx="9477000" cy="49648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/>
              <a:t>First lev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0325" y="6309320"/>
            <a:ext cx="480207" cy="288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3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AF489CC-3B7A-4DA5-A8C0-4984788D0EC5}" type="slidenum">
              <a:rPr lang="nl-NL" smtClean="0">
                <a:solidFill>
                  <a:prstClr val="black"/>
                </a:solidFill>
              </a:rPr>
              <a:pPr/>
              <a:t>‹#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34529" y="164637"/>
            <a:ext cx="9477000" cy="96010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42438425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8075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468933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200" spc="-150"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1140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0" y="-26151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4099998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8075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3628597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24224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33281512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037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73194195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24224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6359181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037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0057390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18197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0835" y="2660915"/>
            <a:ext cx="5928659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106189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18197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6191514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1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67668641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2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27296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346627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Orange">
    <p:bg>
      <p:bgPr>
        <a:solidFill>
          <a:srgbClr val="EB3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200" spc="-150"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90231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3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28201376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4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51585686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5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30785144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6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8504443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7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36395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26587550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8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119108896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19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6939" y="2660915"/>
            <a:ext cx="5382598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8134404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slide #20">
    <p:bg>
      <p:bgPr>
        <a:solidFill>
          <a:srgbClr val="0066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" y="-45493"/>
            <a:ext cx="99030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18974" y="2660915"/>
            <a:ext cx="5070563" cy="1440160"/>
          </a:xfrm>
        </p:spPr>
        <p:txBody>
          <a:bodyPr anchor="t"/>
          <a:lstStyle>
            <a:lvl1pPr>
              <a:defRPr sz="325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chapter title </a:t>
            </a:r>
          </a:p>
        </p:txBody>
      </p:sp>
    </p:spTree>
    <p:extLst>
      <p:ext uri="{BB962C8B-B14F-4D97-AF65-F5344CB8AC3E}">
        <p14:creationId xmlns:p14="http://schemas.microsoft.com/office/powerpoint/2010/main" val="42794755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33761" y="1604798"/>
            <a:ext cx="5362500" cy="14700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defRPr sz="3250" b="1" baseline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nl-NL"/>
              <a:t>Click to edit the title</a:t>
            </a:r>
          </a:p>
        </p:txBody>
      </p:sp>
      <p:sp>
        <p:nvSpPr>
          <p:cNvPr id="7" name="AddNotifier#1"/>
          <p:cNvSpPr txBox="1">
            <a:spLocks noChangeArrowheads="1"/>
          </p:cNvSpPr>
          <p:nvPr userDrawn="1"/>
        </p:nvSpPr>
        <p:spPr bwMode="auto">
          <a:xfrm>
            <a:off x="253517" y="5654157"/>
            <a:ext cx="5323552" cy="847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 anchorCtr="0">
            <a:noAutofit/>
          </a:bodyPr>
          <a:lstStyle>
            <a:lvl1pPr>
              <a:defRPr>
                <a:solidFill>
                  <a:schemeClr val="tx1"/>
                </a:solidFill>
                <a:latin typeface="Lucida Sans Unicode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Lucida Sans Unicode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Lucida Sans Unicode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Lucida Sans Unicode" pitchFamily="34" charset="0"/>
              </a:defRPr>
            </a:lvl9pPr>
          </a:lstStyle>
          <a:p>
            <a:pPr defTabSz="990570"/>
            <a:r>
              <a:rPr lang="en-US" sz="758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os, the Atos logo, Atos Codex, Atos Consulting, Atos </a:t>
            </a:r>
            <a:r>
              <a:rPr lang="en-US" sz="758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grid</a:t>
            </a:r>
            <a:r>
              <a:rPr lang="en-US" sz="758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758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orldline</a:t>
            </a:r>
            <a:r>
              <a:rPr lang="en-US" sz="758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758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lueKiwi</a:t>
            </a:r>
            <a:r>
              <a:rPr lang="en-US" sz="758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Bull, Canopy the Open Cloud Company, Unify, </a:t>
            </a:r>
            <a:r>
              <a:rPr lang="en-US" sz="758" err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unano</a:t>
            </a:r>
            <a:r>
              <a:rPr lang="en-US" sz="758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Zero Email, Zero Email Certified and The Zero Email Company are registered trademarks of the Atos group. April 2016. © 2016 Atos. Confidential information owned by Atos, to be used by the recipient only. This document, or any part of it, may not be reproduced, copied, circulated and/or distributed nor quoted without prior written approval from Atos.</a:t>
            </a:r>
          </a:p>
        </p:txBody>
      </p:sp>
    </p:spTree>
    <p:extLst>
      <p:ext uri="{BB962C8B-B14F-4D97-AF65-F5344CB8AC3E}">
        <p14:creationId xmlns:p14="http://schemas.microsoft.com/office/powerpoint/2010/main" val="36505744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200" spc="-150"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606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200" spc="-150"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7732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7200" spc="-150" baseline="0"/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  <a:prstGeom prst="rect">
            <a:avLst/>
          </a:prstGeom>
        </p:spPr>
        <p:txBody>
          <a:bodyPr lIns="91306" tIns="45654" rIns="91306" bIns="45654"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5978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31813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1665431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50793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236023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7"/>
          <p:cNvSpPr/>
          <p:nvPr userDrawn="1">
            <p:custDataLst>
              <p:tags r:id="rId2"/>
            </p:custDataLst>
          </p:nvPr>
        </p:nvSpPr>
        <p:spPr bwMode="auto">
          <a:xfrm>
            <a:off x="-2051" y="0"/>
            <a:ext cx="9908534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50253 w 10562411"/>
              <a:gd name="connsiteY0" fmla="*/ 226828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150253 w 10562411"/>
              <a:gd name="connsiteY7" fmla="*/ 226828 h 2958168"/>
              <a:gd name="connsiteX0" fmla="*/ 2189 w 10562411"/>
              <a:gd name="connsiteY0" fmla="*/ 0 h 2958168"/>
              <a:gd name="connsiteX1" fmla="*/ 10561655 w 10562411"/>
              <a:gd name="connsiteY1" fmla="*/ 0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411"/>
              <a:gd name="connsiteY0" fmla="*/ 0 h 2958168"/>
              <a:gd name="connsiteX1" fmla="*/ 10297658 w 10562411"/>
              <a:gd name="connsiteY1" fmla="*/ 497083 h 2958168"/>
              <a:gd name="connsiteX2" fmla="*/ 10561157 w 10562411"/>
              <a:gd name="connsiteY2" fmla="*/ 1476338 h 2958168"/>
              <a:gd name="connsiteX3" fmla="*/ 9288594 w 10562411"/>
              <a:gd name="connsiteY3" fmla="*/ 2153103 h 2958168"/>
              <a:gd name="connsiteX4" fmla="*/ 2317558 w 10562411"/>
              <a:gd name="connsiteY4" fmla="*/ 2159512 h 2958168"/>
              <a:gd name="connsiteX5" fmla="*/ 1180889 w 10562411"/>
              <a:gd name="connsiteY5" fmla="*/ 2958168 h 2958168"/>
              <a:gd name="connsiteX6" fmla="*/ 0 w 10562411"/>
              <a:gd name="connsiteY6" fmla="*/ 2174065 h 2958168"/>
              <a:gd name="connsiteX7" fmla="*/ 2189 w 10562411"/>
              <a:gd name="connsiteY7" fmla="*/ 0 h 2958168"/>
              <a:gd name="connsiteX0" fmla="*/ 2189 w 10562585"/>
              <a:gd name="connsiteY0" fmla="*/ 0 h 2958168"/>
              <a:gd name="connsiteX1" fmla="*/ 10562072 w 10562585"/>
              <a:gd name="connsiteY1" fmla="*/ 0 h 2958168"/>
              <a:gd name="connsiteX2" fmla="*/ 10561157 w 10562585"/>
              <a:gd name="connsiteY2" fmla="*/ 1476338 h 2958168"/>
              <a:gd name="connsiteX3" fmla="*/ 9288594 w 10562585"/>
              <a:gd name="connsiteY3" fmla="*/ 2153103 h 2958168"/>
              <a:gd name="connsiteX4" fmla="*/ 2317558 w 10562585"/>
              <a:gd name="connsiteY4" fmla="*/ 2159512 h 2958168"/>
              <a:gd name="connsiteX5" fmla="*/ 1180889 w 10562585"/>
              <a:gd name="connsiteY5" fmla="*/ 2958168 h 2958168"/>
              <a:gd name="connsiteX6" fmla="*/ 0 w 10562585"/>
              <a:gd name="connsiteY6" fmla="*/ 2174065 h 2958168"/>
              <a:gd name="connsiteX7" fmla="*/ 2189 w 10562585"/>
              <a:gd name="connsiteY7" fmla="*/ 0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585" h="2958168">
                <a:moveTo>
                  <a:pt x="2189" y="0"/>
                </a:moveTo>
                <a:lnTo>
                  <a:pt x="10562072" y="0"/>
                </a:lnTo>
                <a:cubicBezTo>
                  <a:pt x="10562585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3461" y="95582"/>
                  <a:pt x="2189" y="0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508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3059" tIns="42976" rIns="33059" bIns="42976" rtlCol="0" anchor="ctr"/>
          <a:lstStyle/>
          <a:p>
            <a:pPr marL="0" algn="ctr" defTabSz="957756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sz="1000" kern="120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4983" y="5182510"/>
            <a:ext cx="9267638" cy="1188720"/>
          </a:xfrm>
          <a:effectLst/>
        </p:spPr>
        <p:txBody>
          <a:bodyPr lIns="0" tIns="33059" rIns="33059" bIns="33059"/>
          <a:lstStyle>
            <a:lvl1pPr algn="l">
              <a:defRPr sz="3300" b="0">
                <a:solidFill>
                  <a:schemeClr val="bg1"/>
                </a:solidFill>
                <a:effectLst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3467" y="6097281"/>
            <a:ext cx="4735513" cy="947750"/>
          </a:xfrm>
          <a:effectLst/>
        </p:spPr>
        <p:txBody>
          <a:bodyPr lIns="0" tIns="33059" rIns="33059" bIns="33059"/>
          <a:lstStyle>
            <a:lvl1pPr marL="0" indent="0" algn="l">
              <a:buNone/>
              <a:defRPr sz="2200" b="0">
                <a:solidFill>
                  <a:schemeClr val="bg1"/>
                </a:solidFill>
                <a:effectLst/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121CB41-45DF-3541-A6C0-E3234B50670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9170" y="334639"/>
            <a:ext cx="1371600" cy="1371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58468C7-9C8D-8F4C-848E-326E66334B3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4528" y="494592"/>
            <a:ext cx="948970" cy="9344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694BD06-B999-E04F-8BC1-8CF0A1EE8CE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709" y="624484"/>
            <a:ext cx="1583819" cy="79191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nchy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81207473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25362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228093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151261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242036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83746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423179" y="228607"/>
            <a:ext cx="9063514" cy="664797"/>
          </a:xfrm>
          <a:prstGeom prst="rect">
            <a:avLst/>
          </a:prstGeom>
        </p:spPr>
        <p:txBody>
          <a:bodyPr/>
          <a:lstStyle>
            <a:lvl1pPr>
              <a:defRPr sz="480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1892" y="1447799"/>
            <a:ext cx="9060933" cy="2043636"/>
          </a:xfrm>
          <a:prstGeom prst="rect">
            <a:avLst/>
          </a:prstGeom>
        </p:spPr>
        <p:txBody>
          <a:bodyPr/>
          <a:lstStyle>
            <a:lvl1pPr marL="342397" indent="-34239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727" indent="-2853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3058" indent="-2853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1323" indent="-228265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588" indent="-228265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" y="6238883"/>
            <a:ext cx="9906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6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58039879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889" y="228606"/>
            <a:ext cx="9060933" cy="747897"/>
          </a:xfrm>
          <a:prstGeom prst="rect">
            <a:avLst/>
          </a:prstGeo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889" y="1447799"/>
            <a:ext cx="9060933" cy="2043636"/>
          </a:xfrm>
          <a:prstGeom prst="rect">
            <a:avLst/>
          </a:prstGeom>
        </p:spPr>
        <p:txBody>
          <a:bodyPr/>
          <a:lstStyle>
            <a:lvl1pPr marL="284163" indent="-284163">
              <a:buFont typeface="Wingdings" pitchFamily="2" charset="2"/>
              <a:buChar char=""/>
              <a:defRPr sz="4000"/>
            </a:lvl1pPr>
            <a:lvl2pPr marL="517525" indent="-233363">
              <a:buFont typeface="Wingdings" pitchFamily="2" charset="2"/>
              <a:buChar char=""/>
              <a:defRPr>
                <a:latin typeface="+mn-lt"/>
              </a:defRPr>
            </a:lvl2pPr>
            <a:lvl3pPr marL="741363" indent="-223838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4400" indent="-173038">
              <a:buFont typeface="Wingdings" pitchFamily="2" charset="2"/>
              <a:buChar char=""/>
              <a:defRPr>
                <a:latin typeface="+mn-lt"/>
              </a:defRPr>
            </a:lvl4pPr>
            <a:lvl5pPr marL="1087438" indent="-173038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8373449" y="6142288"/>
            <a:ext cx="1300206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63996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0" y="228601"/>
            <a:ext cx="9080500" cy="4431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2750" y="1447804"/>
            <a:ext cx="9080500" cy="187743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151781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Page (Blue_Emp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9" y="861"/>
            <a:ext cx="9906103" cy="685628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702474" y="6488707"/>
            <a:ext cx="501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fld id="{0462CC3E-48DD-4274-8616-D549FD7B2C15}" type="slidenum">
              <a:rPr lang="en-US" sz="1000" smtClean="0">
                <a:solidFill>
                  <a:srgbClr val="A4D7F4"/>
                </a:solidFill>
                <a:ea typeface="Verdana" pitchFamily="34" charset="0"/>
                <a:cs typeface="Verdana" pitchFamily="34" charset="0"/>
              </a:rPr>
              <a:pPr algn="ctr" defTabSz="914400"/>
              <a:t>‹#›</a:t>
            </a:fld>
            <a:endParaRPr lang="en-US" sz="1000">
              <a:solidFill>
                <a:srgbClr val="A4D7F4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1" y="6582940"/>
            <a:ext cx="2357628" cy="7582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947796" y="133321"/>
            <a:ext cx="16275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en-US" sz="90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Microsoft Confidential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16" y="6506795"/>
            <a:ext cx="1485900" cy="228133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360408"/>
            <a:ext cx="9060933" cy="509171"/>
          </a:xfrm>
          <a:prstGeom prst="rect">
            <a:avLst/>
          </a:prstGeom>
        </p:spPr>
        <p:txBody>
          <a:bodyPr anchor="t"/>
          <a:lstStyle>
            <a:lvl1pPr>
              <a:defRPr sz="3200" b="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4"/>
          </p:nvPr>
        </p:nvSpPr>
        <p:spPr>
          <a:xfrm>
            <a:off x="422149" y="869577"/>
            <a:ext cx="9045450" cy="27699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tabLst>
                <a:tab pos="628650" algn="l"/>
              </a:tabLst>
              <a:defRPr sz="1800" b="0">
                <a:solidFill>
                  <a:srgbClr val="A4D7F4"/>
                </a:solidFill>
                <a:latin typeface="Segoe UI Light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33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9906000" cy="63588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4"/>
          <p:cNvSpPr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chemeClr val="bg1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  <p:custDataLst>
              <p:tags r:id="rId5"/>
            </p:custDataLst>
          </p:nvPr>
        </p:nvSpPr>
        <p:spPr>
          <a:xfrm>
            <a:off x="341313" y="1495427"/>
            <a:ext cx="6845550" cy="2956803"/>
          </a:xfrm>
        </p:spPr>
        <p:txBody>
          <a:bodyPr lIns="91440"/>
          <a:lstStyle>
            <a:lvl1pPr marL="2286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 marL="4572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 marL="685800" indent="-228600">
              <a:spcAft>
                <a:spcPts val="1200"/>
              </a:spcAft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892" y="1447805"/>
            <a:ext cx="9060933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434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53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721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1892" y="228607"/>
            <a:ext cx="9060933" cy="747897"/>
          </a:xfrm>
          <a:prstGeom prst="rect">
            <a:avLst/>
          </a:prstGeo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423179" y="6399557"/>
            <a:ext cx="455676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3022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3022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65619264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" y="4"/>
            <a:ext cx="9905999" cy="100213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7710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397" y="2109543"/>
            <a:ext cx="8320368" cy="997196"/>
          </a:xfrm>
        </p:spPr>
        <p:txBody>
          <a:bodyPr anchor="b" anchorCtr="0"/>
          <a:lstStyle>
            <a:lvl1pPr>
              <a:defRPr sz="7200" spc="-150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795397" y="3425827"/>
            <a:ext cx="8320368" cy="49859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</p:spTree>
    <p:extLst>
      <p:ext uri="{BB962C8B-B14F-4D97-AF65-F5344CB8AC3E}">
        <p14:creationId xmlns:p14="http://schemas.microsoft.com/office/powerpoint/2010/main" val="243925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</p:spPr>
        <p:txBody>
          <a:bodyPr anchor="b" anchorCtr="0"/>
          <a:lstStyle>
            <a:lvl1pPr>
              <a:defRPr sz="8800" spc="-300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pic>
        <p:nvPicPr>
          <p:cNvPr id="3074" name="Picture 2" descr="C:\Users\hannahr\Desktop\ShrPt_h_rgb_r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50756" y="5129222"/>
            <a:ext cx="2539073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535" y="6151704"/>
            <a:ext cx="1307932" cy="53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740344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0882" y="4343409"/>
            <a:ext cx="832036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lang="en-US" sz="3600" kern="1200" spc="-71" baseline="0" dirty="0">
                <a:gradFill>
                  <a:gsLst>
                    <a:gs pos="2083">
                      <a:schemeClr val="bg2"/>
                    </a:gs>
                    <a:gs pos="99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456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0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302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sub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90881" y="2739679"/>
            <a:ext cx="8326820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>
              <a:spcBef>
                <a:spcPts val="0"/>
              </a:spcBef>
              <a:buFont typeface="Arial" pitchFamily="34" charset="0"/>
              <a:buNone/>
              <a:defRPr lang="en-US" sz="9600" b="0" kern="1200" cap="none" spc="-399" baseline="0" dirty="0" smtClean="0">
                <a:ln w="3175">
                  <a:noFill/>
                </a:ln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 lvl="0"/>
            <a:r>
              <a:rPr lang="en-US"/>
              <a:t>click to…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90882" y="1447800"/>
            <a:ext cx="8320368" cy="914096"/>
          </a:xfrm>
        </p:spPr>
        <p:txBody>
          <a:bodyPr wrap="square" anchor="b">
            <a:noAutofit/>
          </a:bodyPr>
          <a:lstStyle>
            <a:lvl1pPr marL="0" indent="0">
              <a:buNone/>
              <a:defRPr sz="6700" spc="-1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020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892" y="1447807"/>
            <a:ext cx="9060933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2pPr>
            <a:lvl3pPr marL="231434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3pPr>
            <a:lvl4pPr marL="456530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4pPr>
            <a:lvl5pPr marL="692721" indent="0">
              <a:buNone/>
              <a:defRPr sz="2000">
                <a:gradFill>
                  <a:gsLst>
                    <a:gs pos="100000">
                      <a:schemeClr val="bg2"/>
                    </a:gs>
                    <a:gs pos="6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5622817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892" y="1447807"/>
            <a:ext cx="9060933" cy="1975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396"/>
              </a:spcBef>
              <a:buNone/>
              <a:defRPr sz="4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2pPr>
            <a:lvl3pPr marL="231434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3pPr>
            <a:lvl4pPr marL="456530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4pPr>
            <a:lvl5pPr marL="692721" indent="0">
              <a:buNone/>
              <a:defRPr sz="20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3460951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1892" y="228609"/>
            <a:ext cx="9060933" cy="747897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892" y="1447799"/>
            <a:ext cx="9060933" cy="2043636"/>
          </a:xfrm>
          <a:prstGeom prst="rect">
            <a:avLst/>
          </a:prstGeom>
        </p:spPr>
        <p:txBody>
          <a:bodyPr/>
          <a:lstStyle>
            <a:lvl1pPr marL="283747" indent="-283747">
              <a:buFont typeface="Wingdings" pitchFamily="2" charset="2"/>
              <a:buChar char=""/>
              <a:defRPr sz="4000"/>
            </a:lvl1pPr>
            <a:lvl2pPr marL="516767" indent="-233021">
              <a:buFont typeface="Wingdings" pitchFamily="2" charset="2"/>
              <a:buChar char=""/>
              <a:defRPr>
                <a:latin typeface="+mn-lt"/>
              </a:defRPr>
            </a:lvl2pPr>
            <a:lvl3pPr marL="740275" indent="-223510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3058" indent="-172784">
              <a:buFont typeface="Wingdings" pitchFamily="2" charset="2"/>
              <a:buChar char=""/>
              <a:defRPr>
                <a:latin typeface="+mn-lt"/>
              </a:defRPr>
            </a:lvl4pPr>
            <a:lvl5pPr marL="1085843" indent="-172784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9913733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3180" y="1447808"/>
            <a:ext cx="4384547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/>
            </a:lvl2pPr>
            <a:lvl3pPr marL="233021" indent="0">
              <a:buNone/>
              <a:defRPr sz="2000"/>
            </a:lvl3pPr>
            <a:lvl4pPr marL="456530" indent="0">
              <a:buNone/>
              <a:defRPr sz="2000"/>
            </a:lvl4pPr>
            <a:lvl5pPr marL="692721" indent="0">
              <a:buNone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02148" y="1447808"/>
            <a:ext cx="4384547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1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3021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99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380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848744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23180" y="1447808"/>
            <a:ext cx="4384547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sz="4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2pPr>
            <a:lvl3pPr marL="233021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3pPr>
            <a:lvl4pPr marL="456530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4pPr>
            <a:lvl5pPr marL="692721" indent="0">
              <a:buNone/>
              <a:defRPr sz="200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02148" y="1447808"/>
            <a:ext cx="4384547" cy="2462213"/>
          </a:xfrm>
        </p:spPr>
        <p:txBody>
          <a:bodyPr/>
          <a:lstStyle>
            <a:lvl1pPr marL="0" indent="0">
              <a:spcBef>
                <a:spcPts val="1198"/>
              </a:spcBef>
              <a:buNone/>
              <a:defRPr lang="en-US" sz="4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1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3021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9699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 smtClean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6380" marR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1" baseline="0" dirty="0">
                <a:gradFill>
                  <a:gsLst>
                    <a:gs pos="1000">
                      <a:schemeClr val="bg2"/>
                    </a:gs>
                    <a:gs pos="98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1302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40070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41314" y="1495425"/>
            <a:ext cx="9223375" cy="4772025"/>
          </a:xfrm>
        </p:spPr>
        <p:txBody>
          <a:bodyPr/>
          <a:lstStyle>
            <a:lvl1pPr>
              <a:defRPr b="1"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3180" y="1447808"/>
            <a:ext cx="4384547" cy="2351413"/>
          </a:xfrm>
        </p:spPr>
        <p:txBody>
          <a:bodyPr>
            <a:spAutoFit/>
          </a:bodyPr>
          <a:lstStyle>
            <a:lvl1pPr marL="291671" indent="-291671">
              <a:spcBef>
                <a:spcPts val="1198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19936" indent="-228265">
              <a:defRPr sz="2000"/>
            </a:lvl2pPr>
            <a:lvl3pPr marL="684795" indent="-164858">
              <a:tabLst/>
              <a:defRPr sz="2000"/>
            </a:lvl3pPr>
            <a:lvl4pPr marL="862333" indent="-177539">
              <a:defRPr/>
            </a:lvl4pPr>
            <a:lvl5pPr marL="1027191" indent="-164858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02148" y="1447809"/>
            <a:ext cx="4384547" cy="2720745"/>
          </a:xfrm>
        </p:spPr>
        <p:txBody>
          <a:bodyPr>
            <a:spAutoFit/>
          </a:bodyPr>
          <a:lstStyle>
            <a:lvl1pPr marL="339227" indent="-339227">
              <a:spcBef>
                <a:spcPts val="1198"/>
              </a:spcBef>
              <a:buClr>
                <a:schemeClr val="bg2"/>
              </a:buClr>
              <a:buFont typeface="Arial" pitchFamily="34" charset="0"/>
              <a:buChar char="•"/>
              <a:defRPr lang="en-US" sz="3600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34069" indent="-342397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62333" indent="-342397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7191" indent="-342397">
              <a:defRPr lang="en-US" sz="200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04731" indent="-342397">
              <a:defRPr lang="en-US" sz="200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91671" marR="0" lvl="0" indent="-291671" algn="l" defTabSz="913022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91671" marR="0" lvl="1" indent="-291671" algn="l" defTabSz="913022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1671" marR="0" lvl="2" indent="-291671" algn="l" defTabSz="913022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1671" marR="0" lvl="3" indent="-291671" algn="l" defTabSz="913022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1671" marR="0" lvl="4" indent="-291671" algn="l" defTabSz="913022" rtl="0" eaLnBrk="1" fontAlgn="auto" latinLnBrk="0" hangingPunct="1">
              <a:lnSpc>
                <a:spcPct val="90000"/>
              </a:lnSpc>
              <a:spcBef>
                <a:spcPts val="1198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938036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&amp; Small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23179" y="1447809"/>
            <a:ext cx="4415895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599" indent="0">
              <a:buNone/>
              <a:defRPr sz="2700" b="1"/>
            </a:lvl2pPr>
            <a:lvl3pPr marL="1217199" indent="0">
              <a:buNone/>
              <a:defRPr sz="2400" b="1"/>
            </a:lvl3pPr>
            <a:lvl4pPr marL="1825798" indent="0">
              <a:buNone/>
              <a:defRPr sz="2100" b="1"/>
            </a:lvl4pPr>
            <a:lvl5pPr marL="2434397" indent="0">
              <a:buNone/>
              <a:defRPr sz="2100" b="1"/>
            </a:lvl5pPr>
            <a:lvl6pPr marL="3042997" indent="0">
              <a:buNone/>
              <a:defRPr sz="2100" b="1"/>
            </a:lvl6pPr>
            <a:lvl7pPr marL="3651596" indent="0">
              <a:buNone/>
              <a:defRPr sz="2100" b="1"/>
            </a:lvl7pPr>
            <a:lvl8pPr marL="4260194" indent="0">
              <a:buNone/>
              <a:defRPr sz="2100" b="1"/>
            </a:lvl8pPr>
            <a:lvl9pPr marL="486879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29182" y="1681907"/>
            <a:ext cx="4457512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898" indent="-380374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898" indent="-228225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7199" indent="-228225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424" indent="-228225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8677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23179" y="1447802"/>
            <a:ext cx="4415895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599" indent="0">
              <a:buNone/>
              <a:defRPr sz="2700" b="1"/>
            </a:lvl2pPr>
            <a:lvl3pPr marL="1217199" indent="0">
              <a:buNone/>
              <a:defRPr sz="2400" b="1"/>
            </a:lvl3pPr>
            <a:lvl4pPr marL="1825798" indent="0">
              <a:buNone/>
              <a:defRPr sz="2100" b="1"/>
            </a:lvl4pPr>
            <a:lvl5pPr marL="2434397" indent="0">
              <a:buNone/>
              <a:defRPr sz="2100" b="1"/>
            </a:lvl5pPr>
            <a:lvl6pPr marL="3042997" indent="0">
              <a:buNone/>
              <a:defRPr sz="2100" b="1"/>
            </a:lvl6pPr>
            <a:lvl7pPr marL="3651596" indent="0">
              <a:buNone/>
              <a:defRPr sz="2100" b="1"/>
            </a:lvl7pPr>
            <a:lvl8pPr marL="4260194" indent="0">
              <a:buNone/>
              <a:defRPr sz="2100" b="1"/>
            </a:lvl8pPr>
            <a:lvl9pPr marL="486879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423181" y="2734994"/>
            <a:ext cx="4424536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898" indent="-380374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898" indent="-228225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7199" indent="-228225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424" indent="-228225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353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053515" y="1447802"/>
            <a:ext cx="4415895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608599" indent="0">
              <a:buNone/>
              <a:defRPr sz="2700" b="1"/>
            </a:lvl2pPr>
            <a:lvl3pPr marL="1217199" indent="0">
              <a:buNone/>
              <a:defRPr sz="2400" b="1"/>
            </a:lvl3pPr>
            <a:lvl4pPr marL="1825798" indent="0">
              <a:buNone/>
              <a:defRPr sz="2100" b="1"/>
            </a:lvl4pPr>
            <a:lvl5pPr marL="2434397" indent="0">
              <a:buNone/>
              <a:defRPr sz="2100" b="1"/>
            </a:lvl5pPr>
            <a:lvl6pPr marL="3042997" indent="0">
              <a:buNone/>
              <a:defRPr sz="2100" b="1"/>
            </a:lvl6pPr>
            <a:lvl7pPr marL="3651596" indent="0">
              <a:buNone/>
              <a:defRPr sz="2100" b="1"/>
            </a:lvl7pPr>
            <a:lvl8pPr marL="4260194" indent="0">
              <a:buNone/>
              <a:defRPr sz="2100" b="1"/>
            </a:lvl8pPr>
            <a:lvl9pPr marL="486879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053517" y="2734994"/>
            <a:ext cx="4424536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898" indent="-380374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898" indent="-228225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7199" indent="-228225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424" indent="-228225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4860106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37058503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Header on Left &amp; Text on R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-7737" y="0"/>
            <a:ext cx="4865269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54" tIns="45654" rIns="45654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759" fontAlgn="base">
              <a:spcBef>
                <a:spcPct val="0"/>
              </a:spcBef>
              <a:spcAft>
                <a:spcPct val="0"/>
              </a:spcAft>
            </a:pPr>
            <a:endParaRPr lang="en-US" sz="23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23179" y="1447809"/>
            <a:ext cx="4252433" cy="16619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599" indent="0">
              <a:buNone/>
              <a:defRPr sz="2700" b="1"/>
            </a:lvl2pPr>
            <a:lvl3pPr marL="1217199" indent="0">
              <a:buNone/>
              <a:defRPr sz="2400" b="1"/>
            </a:lvl3pPr>
            <a:lvl4pPr marL="1825798" indent="0">
              <a:buNone/>
              <a:defRPr sz="2100" b="1"/>
            </a:lvl4pPr>
            <a:lvl5pPr marL="2434397" indent="0">
              <a:buNone/>
              <a:defRPr sz="2100" b="1"/>
            </a:lvl5pPr>
            <a:lvl6pPr marL="3042997" indent="0">
              <a:buNone/>
              <a:defRPr sz="2100" b="1"/>
            </a:lvl6pPr>
            <a:lvl7pPr marL="3651596" indent="0">
              <a:buNone/>
              <a:defRPr sz="2100" b="1"/>
            </a:lvl7pPr>
            <a:lvl8pPr marL="4260194" indent="0">
              <a:buNone/>
              <a:defRPr sz="2100" b="1"/>
            </a:lvl8pPr>
            <a:lvl9pPr marL="486879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29182" y="1681907"/>
            <a:ext cx="4457512" cy="332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None/>
              <a:defRPr lang="en-US" sz="2000" kern="1200" spc="0" dirty="0" smtClean="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898" indent="-380374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898" indent="-228225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7199" indent="-228225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424" indent="-228225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09862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 text w/Photo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4849786" y="0"/>
            <a:ext cx="5056214" cy="68580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54" tIns="45654" rIns="45654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759" fontAlgn="base">
              <a:spcBef>
                <a:spcPct val="0"/>
              </a:spcBef>
              <a:spcAft>
                <a:spcPct val="0"/>
              </a:spcAft>
            </a:pPr>
            <a:endParaRPr lang="en-US" sz="23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053515" y="1447802"/>
            <a:ext cx="4415895" cy="1178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0" cap="none" baseline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 marL="608599" indent="0">
              <a:buNone/>
              <a:defRPr sz="2700" b="1"/>
            </a:lvl2pPr>
            <a:lvl3pPr marL="1217199" indent="0">
              <a:buNone/>
              <a:defRPr sz="2400" b="1"/>
            </a:lvl3pPr>
            <a:lvl4pPr marL="1825798" indent="0">
              <a:buNone/>
              <a:defRPr sz="2100" b="1"/>
            </a:lvl4pPr>
            <a:lvl5pPr marL="2434397" indent="0">
              <a:buNone/>
              <a:defRPr sz="2100" b="1"/>
            </a:lvl5pPr>
            <a:lvl6pPr marL="3042997" indent="0">
              <a:buNone/>
              <a:defRPr sz="2100" b="1"/>
            </a:lvl6pPr>
            <a:lvl7pPr marL="3651596" indent="0">
              <a:buNone/>
              <a:defRPr sz="2100" b="1"/>
            </a:lvl7pPr>
            <a:lvl8pPr marL="4260194" indent="0">
              <a:buNone/>
              <a:defRPr sz="2100" b="1"/>
            </a:lvl8pPr>
            <a:lvl9pPr marL="486879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.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3"/>
          </p:nvPr>
        </p:nvSpPr>
        <p:spPr>
          <a:xfrm>
            <a:off x="5053517" y="2734994"/>
            <a:ext cx="4424536" cy="6093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1198"/>
              </a:spcBef>
              <a:buFont typeface="Arial" pitchFamily="34" charset="0"/>
              <a:buNone/>
              <a:defRPr lang="en-US" sz="2000" kern="1200" spc="0" dirty="0" smtClean="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n-lt"/>
                <a:ea typeface="+mn-ea"/>
                <a:cs typeface="Segoe UI" pitchFamily="34" charset="0"/>
              </a:defRPr>
            </a:lvl1pPr>
            <a:lvl2pPr marL="912898" indent="-380374">
              <a:defRPr lang="en-US" sz="21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912898" indent="-228225">
              <a:defRPr lang="en-US" sz="19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17199" indent="-228225">
              <a:defRPr lang="en-US" sz="1600" kern="120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445424" indent="-228225">
              <a:defRPr lang="en-US" sz="1600" kern="120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1" y="0"/>
            <a:ext cx="4860106" cy="6858000"/>
          </a:xfrm>
        </p:spPr>
        <p:txBody>
          <a:bodyPr lIns="182611" anchor="ctr"/>
          <a:lstStyle>
            <a:lvl1pPr marL="0" indent="0" algn="l">
              <a:buNone/>
              <a:defRPr/>
            </a:lvl1pPr>
          </a:lstStyle>
          <a:p>
            <a:r>
              <a:rPr lang="en-US"/>
              <a:t>Click to insert photo.</a:t>
            </a:r>
          </a:p>
        </p:txBody>
      </p:sp>
    </p:spTree>
    <p:extLst>
      <p:ext uri="{BB962C8B-B14F-4D97-AF65-F5344CB8AC3E}">
        <p14:creationId xmlns:p14="http://schemas.microsoft.com/office/powerpoint/2010/main" val="12161855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Block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0" y="857257"/>
            <a:ext cx="9906000" cy="5124451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54" tIns="45654" rIns="45654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759" fontAlgn="base">
              <a:spcBef>
                <a:spcPct val="0"/>
              </a:spcBef>
              <a:spcAft>
                <a:spcPct val="0"/>
              </a:spcAft>
            </a:pPr>
            <a:endParaRPr lang="en-US" sz="23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23179" y="1358062"/>
            <a:ext cx="9063514" cy="28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640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4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“Click to edit Master text styles”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423179" y="6399557"/>
            <a:ext cx="455676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3022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3022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3"/>
          </p:nvPr>
        </p:nvSpPr>
        <p:spPr>
          <a:xfrm>
            <a:off x="423179" y="4343409"/>
            <a:ext cx="9063514" cy="4707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3600">
                <a:gradFill>
                  <a:gsLst>
                    <a:gs pos="100000">
                      <a:schemeClr val="bg1"/>
                    </a:gs>
                    <a:gs pos="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  <a:lvl2pPr>
              <a:defRPr sz="64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48494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423179" y="6399557"/>
            <a:ext cx="455676" cy="219456"/>
          </a:xfrm>
          <a:prstGeom prst="rect">
            <a:avLst/>
          </a:prstGeom>
        </p:spPr>
        <p:txBody>
          <a:bodyPr lIns="121720" tIns="60860" rIns="121720" bIns="60860" anchor="ctr"/>
          <a:lstStyle>
            <a:lvl1pPr algn="l">
              <a:defRPr sz="1600">
                <a:gradFill>
                  <a:gsLst>
                    <a:gs pos="100000">
                      <a:schemeClr val="bg2"/>
                    </a:gs>
                    <a:gs pos="0">
                      <a:schemeClr val="bg2"/>
                    </a:gs>
                  </a:gsLst>
                  <a:lin ang="5400000" scaled="0"/>
                </a:gradFill>
              </a:defRPr>
            </a:lvl1pPr>
          </a:lstStyle>
          <a:p>
            <a:pPr defTabSz="913022"/>
            <a:fld id="{727B4C2D-45E2-4621-8491-2995EB46A674}" type="slidenum">
              <a:rPr lang="en-US" smtClean="0">
                <a:gradFill>
                  <a:gsLst>
                    <a:gs pos="100000">
                      <a:srgbClr val="797A7D"/>
                    </a:gs>
                    <a:gs pos="0">
                      <a:srgbClr val="797A7D"/>
                    </a:gs>
                  </a:gsLst>
                  <a:lin ang="5400000" scaled="0"/>
                </a:gradFill>
              </a:rPr>
              <a:pPr defTabSz="913022"/>
              <a:t>‹#›</a:t>
            </a:fld>
            <a:endParaRPr lang="en-US">
              <a:gradFill>
                <a:gsLst>
                  <a:gs pos="100000">
                    <a:srgbClr val="797A7D"/>
                  </a:gs>
                  <a:gs pos="0">
                    <a:srgbClr val="797A7D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15315190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5000309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0" y="1155941"/>
            <a:ext cx="9906000" cy="5702060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654" tIns="45654" rIns="45654" bIns="4565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2759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1244" y="1447808"/>
            <a:ext cx="9063514" cy="1988237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32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1pPr>
            <a:lvl2pPr marL="339227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2pPr>
            <a:lvl3pPr marL="572247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3pPr>
            <a:lvl4pPr marL="797342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4pPr>
            <a:lvl5pPr marL="1028777" indent="0">
              <a:lnSpc>
                <a:spcPct val="95000"/>
              </a:lnSpc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itchFamily="49" charset="0"/>
                <a:cs typeface="Consolas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667779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41313" y="2143126"/>
            <a:ext cx="9223377" cy="4124324"/>
          </a:xfrm>
        </p:spPr>
        <p:txBody>
          <a:bodyPr/>
          <a:lstStyle>
            <a:lvl1pPr>
              <a:defRPr b="0"/>
            </a:lvl1pPr>
            <a:lvl2pPr marL="457200" indent="-223838">
              <a:defRPr/>
            </a:lvl2pPr>
            <a:lvl3pPr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/>
            <p:custDataLst>
              <p:tags r:id="rId5"/>
            </p:custDataLst>
          </p:nvPr>
        </p:nvSpPr>
        <p:spPr>
          <a:xfrm>
            <a:off x="341313" y="1495425"/>
            <a:ext cx="9223377" cy="643634"/>
          </a:xfrm>
        </p:spPr>
        <p:txBody>
          <a:bodyPr/>
          <a:lstStyle>
            <a:lvl1pPr marL="0" indent="0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423179" y="228608"/>
            <a:ext cx="9063514" cy="664797"/>
          </a:xfrm>
        </p:spPr>
        <p:txBody>
          <a:bodyPr/>
          <a:lstStyle>
            <a:lvl1pPr>
              <a:defRPr sz="4800" baseline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1892" y="1447799"/>
            <a:ext cx="9060933" cy="2043636"/>
          </a:xfrm>
          <a:prstGeom prst="rect">
            <a:avLst/>
          </a:prstGeom>
        </p:spPr>
        <p:txBody>
          <a:bodyPr/>
          <a:lstStyle>
            <a:lvl1pPr marL="342397" indent="-342397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27727" indent="-2853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13058" indent="-285331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141323" indent="-228265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69588" indent="-228265">
              <a:buClr>
                <a:srgbClr val="FFFFFF"/>
              </a:buClr>
              <a:buSzPct val="90000"/>
              <a:buFont typeface="Arial" pitchFamily="34" charset="0"/>
              <a:buChar char="•"/>
              <a:defRPr>
                <a:gradFill>
                  <a:gsLst>
                    <a:gs pos="0">
                      <a:srgbClr val="FFFFFF"/>
                    </a:gs>
                    <a:gs pos="86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" y="6238884"/>
            <a:ext cx="9906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2171" tIns="76085" rIns="152171" bIns="76085" anchor="b" anchorCtr="0">
            <a:noAutofit/>
          </a:bodyPr>
          <a:lstStyle>
            <a:lvl1pPr algn="r">
              <a:buFont typeface="Arial" pitchFamily="34" charset="0"/>
              <a:buNone/>
              <a:defRPr sz="36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09250616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219541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Page (Blue_Empt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8" y="861"/>
            <a:ext cx="9906103" cy="685628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702474" y="6488709"/>
            <a:ext cx="501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fld id="{0462CC3E-48DD-4274-8616-D549FD7B2C15}" type="slidenum">
              <a:rPr lang="en-US" sz="1000" smtClean="0">
                <a:solidFill>
                  <a:srgbClr val="A4D7F4"/>
                </a:solidFill>
                <a:ea typeface="Verdana" pitchFamily="34" charset="0"/>
                <a:cs typeface="Verdana" pitchFamily="34" charset="0"/>
              </a:rPr>
              <a:pPr algn="ctr" defTabSz="914400"/>
              <a:t>‹#›</a:t>
            </a:fld>
            <a:endParaRPr lang="en-US" sz="1000">
              <a:solidFill>
                <a:srgbClr val="A4D7F4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1" y="6582940"/>
            <a:ext cx="2357628" cy="7582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947796" y="133321"/>
            <a:ext cx="16275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en-US" sz="900">
                <a:solidFill>
                  <a:srgbClr val="FFFFFF"/>
                </a:solidFill>
                <a:ea typeface="Segoe UI" pitchFamily="34" charset="0"/>
                <a:cs typeface="Segoe UI" pitchFamily="34" charset="0"/>
              </a:rPr>
              <a:t>Microsoft Confidential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0816" y="6506797"/>
            <a:ext cx="1485900" cy="228133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360410"/>
            <a:ext cx="9060933" cy="509171"/>
          </a:xfrm>
        </p:spPr>
        <p:txBody>
          <a:bodyPr anchor="t"/>
          <a:lstStyle>
            <a:lvl1pPr>
              <a:defRPr sz="3200" b="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4"/>
          </p:nvPr>
        </p:nvSpPr>
        <p:spPr>
          <a:xfrm>
            <a:off x="422149" y="869577"/>
            <a:ext cx="9045450" cy="276999"/>
          </a:xfrm>
        </p:spPr>
        <p:txBody>
          <a:bodyPr anchor="b"/>
          <a:lstStyle>
            <a:lvl1pPr marL="0" indent="0">
              <a:buNone/>
              <a:tabLst>
                <a:tab pos="628650" algn="l"/>
              </a:tabLst>
              <a:defRPr sz="1800" b="0">
                <a:solidFill>
                  <a:srgbClr val="A4D7F4"/>
                </a:solidFill>
                <a:latin typeface="Segoe UI Light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220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les R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21892" y="228604"/>
            <a:ext cx="9060933" cy="133080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sz="4800" baseline="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2219" y="788839"/>
            <a:ext cx="9078237" cy="393808"/>
          </a:xfrm>
        </p:spPr>
        <p:txBody>
          <a:bodyPr/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423073" y="1677999"/>
            <a:ext cx="4483498" cy="1854371"/>
          </a:xfrm>
        </p:spPr>
        <p:txBody>
          <a:bodyPr/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  <a:lvl2pPr>
              <a:defRPr sz="2133">
                <a:solidFill>
                  <a:schemeClr val="bg1">
                    <a:lumMod val="65000"/>
                    <a:lumOff val="35000"/>
                  </a:schemeClr>
                </a:solidFill>
              </a:defRPr>
            </a:lvl2pPr>
            <a:lvl3pPr>
              <a:defRPr sz="2133">
                <a:solidFill>
                  <a:schemeClr val="bg1">
                    <a:lumMod val="65000"/>
                    <a:lumOff val="35000"/>
                  </a:schemeClr>
                </a:solidFill>
              </a:defRPr>
            </a:lvl3pPr>
            <a:lvl4pPr>
              <a:defRPr sz="2133">
                <a:solidFill>
                  <a:schemeClr val="bg1">
                    <a:lumMod val="65000"/>
                    <a:lumOff val="35000"/>
                  </a:schemeClr>
                </a:solidFill>
              </a:defRPr>
            </a:lvl4pPr>
            <a:lvl5pPr>
              <a:defRPr sz="2133">
                <a:solidFill>
                  <a:schemeClr val="bg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495162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8" y="1189184"/>
            <a:ext cx="9468487" cy="1988237"/>
          </a:xfrm>
        </p:spPr>
        <p:txBody>
          <a:bodyPr>
            <a:spAutoFit/>
          </a:bodyPr>
          <a:lstStyle>
            <a:lvl1pPr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29071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with color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3962400" cy="2438400"/>
          </a:xfrm>
          <a:solidFill>
            <a:schemeClr val="accent1">
              <a:alpha val="90000"/>
            </a:schemeClr>
          </a:solidFill>
        </p:spPr>
        <p:txBody>
          <a:bodyPr>
            <a:normAutofit/>
          </a:bodyPr>
          <a:lstStyle>
            <a:lvl1pPr>
              <a:lnSpc>
                <a:spcPct val="100000"/>
              </a:lnSpc>
              <a:defRPr sz="4000"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400"/>
            <a:fld id="{EA7FCA74-5C69-784C-88D8-83EE75392F8C}" type="datetime1">
              <a:rPr lang="en-US" sz="1800" smtClean="0">
                <a:solidFill>
                  <a:srgbClr val="000000"/>
                </a:solidFill>
              </a:rPr>
              <a:pPr defTabSz="914400"/>
              <a:t>1/9/2020</a:t>
            </a:fld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00132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400"/>
            <a:fld id="{74A398B2-5A34-1A4A-811E-F4027282568C}" type="slidenum">
              <a:rPr lang="en-US" sz="1800" smtClean="0">
                <a:solidFill>
                  <a:srgbClr val="000000"/>
                </a:solidFill>
              </a:rPr>
              <a:pPr defTabSz="914400"/>
              <a:t>‹#›</a:t>
            </a:fld>
            <a:endParaRPr 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0332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General content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143000"/>
            <a:ext cx="2476500" cy="2286000"/>
          </a:xfrm>
          <a:solidFill>
            <a:srgbClr val="0A5BBA"/>
          </a:solidFill>
        </p:spPr>
        <p:txBody>
          <a:bodyPr rIns="91440">
            <a:normAutofit/>
          </a:bodyPr>
          <a:lstStyle>
            <a:lvl1pPr>
              <a:defRPr sz="3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4400"/>
            <a:fld id="{17060D3C-4028-8F45-B941-6DAA70ECC4AB}" type="datetime1">
              <a:rPr lang="en-US" sz="18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defTabSz="914400"/>
              <a:t>1/9/2020</a:t>
            </a:fld>
            <a:endParaRPr lang="en-US" sz="180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00132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4400"/>
            <a:fld id="{74A398B2-5A34-1A4A-811E-F4027282568C}" type="slidenum">
              <a:rPr lang="en-US" sz="1800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sz="180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714750" y="1143000"/>
            <a:ext cx="5695950" cy="4953000"/>
          </a:xfrm>
          <a:prstGeom prst="rect">
            <a:avLst/>
          </a:prstGeom>
        </p:spPr>
        <p:txBody>
          <a:bodyPr vert="horz" lIns="91440" tIns="45720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4267" baseline="0">
                <a:solidFill>
                  <a:srgbClr val="3F3F3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33379775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nchy Slide Purpl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459601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nchy Slide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1892" y="2819606"/>
            <a:ext cx="9060933" cy="1218795"/>
          </a:xfrm>
          <a:prstGeom prst="rect">
            <a:avLst/>
          </a:prstGeom>
        </p:spPr>
        <p:txBody>
          <a:bodyPr lIns="91306" tIns="45654" rIns="91306" bIns="45654" anchor="b" anchorCtr="0"/>
          <a:lstStyle>
            <a:lvl1pPr>
              <a:defRPr sz="8800" spc="-3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862330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light right align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 userDrawn="1"/>
        </p:nvSpPr>
        <p:spPr>
          <a:xfrm>
            <a:off x="0" y="1143008"/>
            <a:ext cx="4953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0" y="1143000"/>
            <a:ext cx="4953000" cy="2286000"/>
          </a:xfrm>
          <a:solidFill>
            <a:schemeClr val="accent1"/>
          </a:solidFill>
        </p:spPr>
        <p:txBody>
          <a:bodyPr>
            <a:noAutofit/>
          </a:bodyPr>
          <a:lstStyle>
            <a:lvl1pPr>
              <a:lnSpc>
                <a:spcPct val="100000"/>
              </a:lnSpc>
              <a:defRPr sz="4267">
                <a:latin typeface="Segoe UI Light" pitchFamily="34" charset="0"/>
              </a:defRPr>
            </a:lvl1pPr>
            <a:lvl2pPr>
              <a:defRPr sz="4000">
                <a:latin typeface="+mn-lt"/>
              </a:defRPr>
            </a:lvl2pPr>
            <a:lvl3pPr>
              <a:defRPr sz="4000">
                <a:latin typeface="+mn-lt"/>
              </a:defRPr>
            </a:lvl3pPr>
            <a:lvl4pPr>
              <a:defRPr sz="4000">
                <a:latin typeface="+mn-lt"/>
              </a:defRPr>
            </a:lvl4pPr>
            <a:lvl5pPr>
              <a:defRPr sz="4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645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41313" y="1495425"/>
            <a:ext cx="4487862" cy="4753518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 marL="685800" indent="-228600"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6826" y="1495426"/>
            <a:ext cx="4487863" cy="4772024"/>
          </a:xfrm>
        </p:spPr>
        <p:txBody>
          <a:bodyPr/>
          <a:lstStyle>
            <a:lvl1pPr>
              <a:defRPr/>
            </a:lvl1pPr>
            <a:lvl2pPr marL="457200" indent="-228600"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, lar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19812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defTabSz="914400"/>
            <a:fld id="{6CAB5F3F-0C09-2446-88B7-457681E8ABF6}" type="datetime1">
              <a:rPr lang="en-US" sz="1800" smtClean="0">
                <a:solidFill>
                  <a:srgbClr val="000000"/>
                </a:solidFill>
              </a:rPr>
              <a:pPr defTabSz="914400"/>
              <a:t>1/9/2020</a:t>
            </a:fld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00132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defTabSz="914400"/>
            <a:fld id="{74A398B2-5A34-1A4A-811E-F4027282568C}" type="slidenum">
              <a:rPr lang="en-US" sz="1800" smtClean="0">
                <a:solidFill>
                  <a:srgbClr val="000000"/>
                </a:solidFill>
              </a:rPr>
              <a:pPr defTabSz="914400"/>
              <a:t>‹#›</a:t>
            </a:fld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971800" y="1219200"/>
            <a:ext cx="6686550" cy="4876800"/>
          </a:xfrm>
          <a:prstGeom prst="rect">
            <a:avLst/>
          </a:prstGeom>
        </p:spPr>
        <p:txBody>
          <a:bodyPr vert="horz" lIns="182880" tIns="137160"/>
          <a:lstStyle>
            <a:lvl1pPr marL="0" indent="0">
              <a:spcBef>
                <a:spcPts val="400"/>
              </a:spcBef>
              <a:buFontTx/>
              <a:buNone/>
              <a:defRPr sz="4000" baseline="0">
                <a:solidFill>
                  <a:schemeClr val="tx1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14900986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, large,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19812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3F3F"/>
                </a:solidFill>
                <a:latin typeface="+mn-lt"/>
              </a:defRPr>
            </a:lvl1pPr>
          </a:lstStyle>
          <a:p>
            <a:pPr defTabSz="914400"/>
            <a:fld id="{02114048-32B6-E540-A599-DA4A5454CD83}" type="datetime1">
              <a:rPr lang="en-US" sz="1800" smtClean="0"/>
              <a:pPr defTabSz="914400"/>
              <a:t>1/9/2020</a:t>
            </a:fld>
            <a:endParaRPr lang="en-US" sz="18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600132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3F3F"/>
                </a:solidFill>
                <a:latin typeface="+mn-lt"/>
              </a:defRPr>
            </a:lvl1pPr>
          </a:lstStyle>
          <a:p>
            <a:pPr defTabSz="914400"/>
            <a:fld id="{74A398B2-5A34-1A4A-811E-F4027282568C}" type="slidenum">
              <a:rPr lang="en-US" sz="1800" smtClean="0"/>
              <a:pPr defTabSz="914400"/>
              <a:t>‹#›</a:t>
            </a:fld>
            <a:endParaRPr lang="en-US" sz="180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2971800" y="1219200"/>
            <a:ext cx="6686550" cy="48768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4000" baseline="0">
                <a:solidFill>
                  <a:srgbClr val="3F3F3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6693123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1219200"/>
            <a:ext cx="1981200" cy="2438400"/>
          </a:xfrm>
          <a:prstGeom prst="rect">
            <a:avLst/>
          </a:prstGeom>
          <a:solidFill>
            <a:srgbClr val="0A5BBA">
              <a:alpha val="89804"/>
            </a:srgbClr>
          </a:solidFill>
        </p:spPr>
        <p:txBody>
          <a:bodyPr lIns="182880" tIns="91440" rIns="91440" bIns="91440">
            <a:normAutofit/>
          </a:bodyPr>
          <a:lstStyle>
            <a:lvl1pPr>
              <a:defRPr sz="26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7346950" y="6356358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sz="1067">
                <a:solidFill>
                  <a:schemeClr val="tx1"/>
                </a:solidFill>
              </a:defRPr>
            </a:lvl1pPr>
          </a:lstStyle>
          <a:p>
            <a:pPr defTabSz="914400"/>
            <a:fld id="{74A398B2-5A34-1A4A-811E-F4027282568C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981200" y="1219200"/>
            <a:ext cx="7429500" cy="4876800"/>
          </a:xfrm>
          <a:noFill/>
        </p:spPr>
        <p:txBody>
          <a:bodyPr lIns="182880" tIns="91440" rIns="91440" bIns="91440">
            <a:normAutofit/>
          </a:bodyPr>
          <a:lstStyle>
            <a:lvl1pPr marL="304792" indent="-304792">
              <a:lnSpc>
                <a:spcPct val="100000"/>
              </a:lnSpc>
              <a:buFont typeface="Arial" pitchFamily="34" charset="0"/>
              <a:buChar char="•"/>
              <a:defRPr/>
            </a:lvl1pPr>
            <a:lvl2pPr marL="609585" indent="-300559">
              <a:lnSpc>
                <a:spcPct val="100000"/>
              </a:lnSpc>
              <a:buFont typeface="Arial" pitchFamily="34" charset="0"/>
              <a:buChar char="•"/>
              <a:defRPr/>
            </a:lvl2pPr>
            <a:lvl3pPr marL="914377" indent="-304792">
              <a:lnSpc>
                <a:spcPct val="100000"/>
              </a:lnSpc>
              <a:buFont typeface="Arial" pitchFamily="34" charset="0"/>
              <a:buChar char="•"/>
              <a:defRPr/>
            </a:lvl3pPr>
            <a:lvl4pPr marL="1219170" indent="-304792">
              <a:lnSpc>
                <a:spcPct val="100000"/>
              </a:lnSpc>
              <a:buFont typeface="Arial" pitchFamily="34" charset="0"/>
              <a:buChar char="•"/>
              <a:defRPr/>
            </a:lvl4pPr>
            <a:lvl5pPr marL="1523962" indent="-304792">
              <a:lnSpc>
                <a:spcPct val="100000"/>
              </a:lnSpc>
              <a:buFont typeface="Arial" pitchFamily="34" charset="0"/>
              <a:buChar char="•"/>
              <a:defRPr/>
            </a:lvl5pPr>
            <a:lvl6pPr>
              <a:lnSpc>
                <a:spcPct val="100000"/>
              </a:lnSpc>
              <a:defRPr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080088847"/>
      </p:ext>
    </p:extLst>
  </p:cSld>
  <p:clrMapOvr>
    <a:masterClrMapping/>
  </p:clrMapOvr>
  <p:transition>
    <p:fade/>
  </p:transition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Walkin - Editable - Dk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25165"/>
            <a:ext cx="1616926" cy="477862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0490" y="925165"/>
            <a:ext cx="1616926" cy="477862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0981" y="925165"/>
            <a:ext cx="1616926" cy="477862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1471" y="925164"/>
            <a:ext cx="1616926" cy="47786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962" y="925165"/>
            <a:ext cx="1616926" cy="47786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2656" y="925165"/>
            <a:ext cx="1653344" cy="477862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4770716"/>
            <a:ext cx="9906000" cy="2087285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7148" rIns="0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8758" y="4770716"/>
            <a:ext cx="8033899" cy="1796217"/>
          </a:xfrm>
        </p:spPr>
        <p:txBody>
          <a:bodyPr/>
          <a:lstStyle>
            <a:lvl1pPr>
              <a:defRPr sz="3505">
                <a:gradFill>
                  <a:gsLst>
                    <a:gs pos="36283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232667" y="303521"/>
            <a:ext cx="9454577" cy="504972"/>
          </a:xfrm>
          <a:prstGeom prst="rect">
            <a:avLst/>
          </a:prstGeom>
          <a:noFill/>
        </p:spPr>
        <p:txBody>
          <a:bodyPr wrap="square" lIns="145669" tIns="116535" rIns="145669" bIns="116535" rtlCol="0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505050"/>
                    </a:gs>
                    <a:gs pos="36283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505050"/>
                  </a:gs>
                  <a:gs pos="36283">
                    <a:srgbClr val="505050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 bwMode="black">
          <a:xfrm>
            <a:off x="8392277" y="6089269"/>
            <a:ext cx="1153475" cy="304828"/>
            <a:chOff x="457200" y="1643393"/>
            <a:chExt cx="4492753" cy="96454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33" name="Freeform 3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8654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Walkin - Editable - Oran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25165"/>
            <a:ext cx="1616926" cy="477862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0490" y="925165"/>
            <a:ext cx="1616926" cy="477862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0981" y="925165"/>
            <a:ext cx="1616926" cy="477862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1471" y="925164"/>
            <a:ext cx="1616926" cy="47786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962" y="925165"/>
            <a:ext cx="1616926" cy="47786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2656" y="925165"/>
            <a:ext cx="1653344" cy="477862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4770716"/>
            <a:ext cx="9906000" cy="2087285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7148" rIns="0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8758" y="4770716"/>
            <a:ext cx="8033899" cy="1796217"/>
          </a:xfrm>
        </p:spPr>
        <p:txBody>
          <a:bodyPr/>
          <a:lstStyle>
            <a:lvl1pPr>
              <a:defRPr sz="3505">
                <a:gradFill>
                  <a:gsLst>
                    <a:gs pos="36283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232667" y="303521"/>
            <a:ext cx="9454577" cy="504972"/>
          </a:xfrm>
          <a:prstGeom prst="rect">
            <a:avLst/>
          </a:prstGeom>
          <a:noFill/>
        </p:spPr>
        <p:txBody>
          <a:bodyPr wrap="square" lIns="145669" tIns="116535" rIns="145669" bIns="116535" rtlCol="0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505050"/>
                    </a:gs>
                    <a:gs pos="36283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505050"/>
                  </a:gs>
                  <a:gs pos="36283">
                    <a:srgbClr val="505050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 bwMode="black">
          <a:xfrm>
            <a:off x="8392277" y="6089269"/>
            <a:ext cx="1153475" cy="304828"/>
            <a:chOff x="457200" y="1643393"/>
            <a:chExt cx="4492753" cy="96454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33" name="Freeform 3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2444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Walkin - Editable - Te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25165"/>
            <a:ext cx="1616926" cy="477862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0490" y="925165"/>
            <a:ext cx="1616926" cy="477862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0981" y="925165"/>
            <a:ext cx="1616926" cy="477862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1471" y="925164"/>
            <a:ext cx="1616926" cy="47786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962" y="925165"/>
            <a:ext cx="1616926" cy="47786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2656" y="925165"/>
            <a:ext cx="1653344" cy="477862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4770716"/>
            <a:ext cx="9906000" cy="2087285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7148" rIns="0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8758" y="4770716"/>
            <a:ext cx="8033899" cy="1796217"/>
          </a:xfrm>
        </p:spPr>
        <p:txBody>
          <a:bodyPr/>
          <a:lstStyle>
            <a:lvl1pPr>
              <a:defRPr sz="3505">
                <a:gradFill>
                  <a:gsLst>
                    <a:gs pos="36283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232667" y="303521"/>
            <a:ext cx="9454577" cy="504972"/>
          </a:xfrm>
          <a:prstGeom prst="rect">
            <a:avLst/>
          </a:prstGeom>
          <a:noFill/>
        </p:spPr>
        <p:txBody>
          <a:bodyPr wrap="square" lIns="145669" tIns="116535" rIns="145669" bIns="116535" rtlCol="0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505050"/>
                    </a:gs>
                    <a:gs pos="36283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505050"/>
                  </a:gs>
                  <a:gs pos="36283">
                    <a:srgbClr val="505050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 bwMode="black">
          <a:xfrm>
            <a:off x="8392277" y="6089269"/>
            <a:ext cx="1153475" cy="304828"/>
            <a:chOff x="457200" y="1643393"/>
            <a:chExt cx="4492753" cy="96454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33" name="Freeform 3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60520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Walkin - Editable - Purp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25165"/>
            <a:ext cx="1616926" cy="4778622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0490" y="925165"/>
            <a:ext cx="1616926" cy="477862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0981" y="925165"/>
            <a:ext cx="1616926" cy="477862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1471" y="925164"/>
            <a:ext cx="1616926" cy="47786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962" y="925165"/>
            <a:ext cx="1616926" cy="477862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52656" y="925165"/>
            <a:ext cx="1653344" cy="477862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0" y="4770716"/>
            <a:ext cx="9906000" cy="2087285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37148" rIns="0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18758" y="4770716"/>
            <a:ext cx="8033899" cy="1796217"/>
          </a:xfrm>
        </p:spPr>
        <p:txBody>
          <a:bodyPr/>
          <a:lstStyle>
            <a:lvl1pPr>
              <a:defRPr sz="3505">
                <a:gradFill>
                  <a:gsLst>
                    <a:gs pos="36283">
                      <a:srgbClr val="FFFFFF"/>
                    </a:gs>
                    <a:gs pos="68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232667" y="303521"/>
            <a:ext cx="9454577" cy="504972"/>
          </a:xfrm>
          <a:prstGeom prst="rect">
            <a:avLst/>
          </a:prstGeom>
          <a:noFill/>
        </p:spPr>
        <p:txBody>
          <a:bodyPr wrap="square" lIns="145669" tIns="116535" rIns="145669" bIns="116535" rtlCol="0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505050"/>
                    </a:gs>
                    <a:gs pos="36283">
                      <a:srgbClr val="505050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505050"/>
                  </a:gs>
                  <a:gs pos="36283">
                    <a:srgbClr val="505050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Group 30"/>
          <p:cNvGrpSpPr>
            <a:grpSpLocks noChangeAspect="1"/>
          </p:cNvGrpSpPr>
          <p:nvPr userDrawn="1"/>
        </p:nvGrpSpPr>
        <p:grpSpPr bwMode="black">
          <a:xfrm>
            <a:off x="8392277" y="6089269"/>
            <a:ext cx="1153475" cy="304828"/>
            <a:chOff x="457200" y="1643393"/>
            <a:chExt cx="4492753" cy="96454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33" name="Freeform 3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681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Editable - D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 bwMode="black">
          <a:xfrm>
            <a:off x="373021" y="470067"/>
            <a:ext cx="1153475" cy="304828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FFFFFF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232667" y="5790555"/>
            <a:ext cx="5812852" cy="774596"/>
          </a:xfrm>
          <a:prstGeom prst="rect">
            <a:avLst/>
          </a:prstGeom>
          <a:noFill/>
        </p:spPr>
        <p:txBody>
          <a:bodyPr wrap="square" lIns="145669" tIns="116535" rIns="145669" bIns="116535" rtlCol="0" anchor="b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FFFFFF"/>
                    </a:gs>
                    <a:gs pos="36283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FFFFFF"/>
                  </a:gs>
                  <a:gs pos="36283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218758" y="1187621"/>
            <a:ext cx="5826761" cy="2689656"/>
          </a:xfrm>
        </p:spPr>
        <p:txBody>
          <a:bodyPr/>
          <a:lstStyle>
            <a:lvl1pPr>
              <a:defRPr sz="3505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-1"/>
            <a:ext cx="1820863" cy="224138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2285999"/>
            <a:ext cx="1820863" cy="224138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4571999"/>
            <a:ext cx="1820863" cy="228620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-1"/>
            <a:ext cx="1857280" cy="224138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2285999"/>
            <a:ext cx="1857280" cy="224138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4571791"/>
            <a:ext cx="1857280" cy="22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055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Editable -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 bwMode="black">
          <a:xfrm>
            <a:off x="373021" y="470067"/>
            <a:ext cx="1153475" cy="304828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FFFFFF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232667" y="5790555"/>
            <a:ext cx="5812852" cy="774596"/>
          </a:xfrm>
          <a:prstGeom prst="rect">
            <a:avLst/>
          </a:prstGeom>
          <a:noFill/>
        </p:spPr>
        <p:txBody>
          <a:bodyPr wrap="square" lIns="145669" tIns="116535" rIns="145669" bIns="116535" rtlCol="0" anchor="b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FFFFFF"/>
                    </a:gs>
                    <a:gs pos="36283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FFFFFF"/>
                  </a:gs>
                  <a:gs pos="36283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218758" y="1187621"/>
            <a:ext cx="5826761" cy="2689656"/>
          </a:xfrm>
        </p:spPr>
        <p:txBody>
          <a:bodyPr/>
          <a:lstStyle>
            <a:lvl1pPr>
              <a:defRPr sz="3505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-1"/>
            <a:ext cx="1820863" cy="224138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2285999"/>
            <a:ext cx="1820863" cy="224138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4571999"/>
            <a:ext cx="1820863" cy="228620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-1"/>
            <a:ext cx="1857280" cy="224138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2285999"/>
            <a:ext cx="1857280" cy="224138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4571791"/>
            <a:ext cx="1857280" cy="22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170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Editable -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 bwMode="black">
          <a:xfrm>
            <a:off x="373021" y="470067"/>
            <a:ext cx="1153475" cy="304828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FFFFFF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232667" y="5790555"/>
            <a:ext cx="5812852" cy="774596"/>
          </a:xfrm>
          <a:prstGeom prst="rect">
            <a:avLst/>
          </a:prstGeom>
          <a:noFill/>
        </p:spPr>
        <p:txBody>
          <a:bodyPr wrap="square" lIns="145669" tIns="116535" rIns="145669" bIns="116535" rtlCol="0" anchor="b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FFFFFF"/>
                    </a:gs>
                    <a:gs pos="36283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FFFFFF"/>
                  </a:gs>
                  <a:gs pos="36283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218758" y="1187621"/>
            <a:ext cx="5826761" cy="2689656"/>
          </a:xfrm>
        </p:spPr>
        <p:txBody>
          <a:bodyPr/>
          <a:lstStyle>
            <a:lvl1pPr>
              <a:defRPr sz="3505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-1"/>
            <a:ext cx="1820863" cy="224138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2285999"/>
            <a:ext cx="1820863" cy="224138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4571999"/>
            <a:ext cx="1820863" cy="228620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-1"/>
            <a:ext cx="1857280" cy="224138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2285999"/>
            <a:ext cx="1857280" cy="224138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4571791"/>
            <a:ext cx="1857280" cy="22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129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41313" y="2133600"/>
            <a:ext cx="4487862" cy="41338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1"/>
            <p:custDataLst>
              <p:tags r:id="rId5"/>
            </p:custDataLst>
          </p:nvPr>
        </p:nvSpPr>
        <p:spPr>
          <a:xfrm>
            <a:off x="5076826" y="2133600"/>
            <a:ext cx="4487863" cy="41338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300"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341313" y="1495425"/>
            <a:ext cx="4487862" cy="64008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5pPr>
              <a:buNone/>
              <a:defRPr/>
            </a:lvl5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/>
              <a:t>Click to edit Master text styl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5076826" y="1495425"/>
            <a:ext cx="4487863" cy="640080"/>
          </a:xfrm>
        </p:spPr>
        <p:txBody>
          <a:bodyPr vert="horz" lIns="0" tIns="33059" rIns="33059" bIns="33059" rtlCol="0">
            <a:noAutofit/>
          </a:bodyPr>
          <a:lstStyle>
            <a:lvl1pPr algn="l">
              <a:buNone/>
              <a:defRPr lang="en-US" sz="2000" b="1" kern="1200" noProof="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342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ingdings" pitchFamily="2" charset="2"/>
              <a:buNone/>
            </a:pPr>
            <a:r>
              <a:rPr lang="en-US" noProof="0"/>
              <a:t>Click to edit Master text style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Editable -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 bwMode="black">
          <a:xfrm>
            <a:off x="373021" y="470067"/>
            <a:ext cx="1153475" cy="304828"/>
            <a:chOff x="457200" y="1643393"/>
            <a:chExt cx="4492753" cy="96454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3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42929"/>
              <a:endParaRPr lang="en-US" sz="1434">
                <a:solidFill>
                  <a:srgbClr val="FFFFFF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232667" y="5790555"/>
            <a:ext cx="5812852" cy="774596"/>
          </a:xfrm>
          <a:prstGeom prst="rect">
            <a:avLst/>
          </a:prstGeom>
          <a:noFill/>
        </p:spPr>
        <p:txBody>
          <a:bodyPr wrap="square" lIns="145669" tIns="116535" rIns="145669" bIns="116535" rtlCol="0" anchor="b">
            <a:spAutoFit/>
          </a:bodyPr>
          <a:lstStyle/>
          <a:p>
            <a:pPr defTabSz="742929"/>
            <a:r>
              <a:rPr lang="en-US" sz="1752">
                <a:gradFill>
                  <a:gsLst>
                    <a:gs pos="12389">
                      <a:srgbClr val="FFFFFF"/>
                    </a:gs>
                    <a:gs pos="36283">
                      <a:srgbClr val="FFFFFF"/>
                    </a:gs>
                  </a:gsLst>
                  <a:lin ang="5400000" scaled="0"/>
                </a:gradFill>
                <a:latin typeface="Segoe UI Light" panose="020B0502040204020203" pitchFamily="34" charset="0"/>
                <a:cs typeface="Segoe UI Light" panose="020B0502040204020203" pitchFamily="34" charset="0"/>
              </a:rPr>
              <a:t>“Our mission is to empower every person and every organization on the planet to achieve more.”</a:t>
            </a:r>
            <a:endParaRPr lang="en-US" sz="1752">
              <a:gradFill>
                <a:gsLst>
                  <a:gs pos="12389">
                    <a:srgbClr val="FFFFFF"/>
                  </a:gs>
                  <a:gs pos="36283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Title 4"/>
          <p:cNvSpPr>
            <a:spLocks noGrp="1"/>
          </p:cNvSpPr>
          <p:nvPr userDrawn="1">
            <p:ph type="title"/>
          </p:nvPr>
        </p:nvSpPr>
        <p:spPr>
          <a:xfrm>
            <a:off x="218758" y="1187621"/>
            <a:ext cx="5826761" cy="2689656"/>
          </a:xfrm>
        </p:spPr>
        <p:txBody>
          <a:bodyPr/>
          <a:lstStyle>
            <a:lvl1pPr>
              <a:defRPr sz="3505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-1"/>
            <a:ext cx="1820863" cy="224138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2285999"/>
            <a:ext cx="1820863" cy="224138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1776" y="4571999"/>
            <a:ext cx="1820863" cy="228620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-1"/>
            <a:ext cx="1857280" cy="224138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2285999"/>
            <a:ext cx="1857280" cy="224138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720" y="4571791"/>
            <a:ext cx="1857280" cy="2286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703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18757" y="1189177"/>
            <a:ext cx="9468487" cy="1650773"/>
          </a:xfrm>
        </p:spPr>
        <p:txBody>
          <a:bodyPr/>
          <a:lstStyle>
            <a:lvl1pPr marL="0" indent="0">
              <a:buNone/>
              <a:defRPr sz="3186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593"/>
            </a:lvl2pPr>
            <a:lvl3pPr marL="182080" indent="0">
              <a:buNone/>
              <a:defRPr/>
            </a:lvl3pPr>
            <a:lvl4pPr marL="364160" indent="0">
              <a:buNone/>
              <a:defRPr/>
            </a:lvl4pPr>
            <a:lvl5pPr marL="54624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314364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18757" y="1189177"/>
            <a:ext cx="9468487" cy="1650773"/>
          </a:xfrm>
        </p:spPr>
        <p:txBody>
          <a:bodyPr/>
          <a:lstStyle>
            <a:lvl1pPr marL="0" indent="0">
              <a:buNone/>
              <a:defRPr sz="3186"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593"/>
            </a:lvl2pPr>
            <a:lvl3pPr marL="182080" indent="0">
              <a:buNone/>
              <a:defRPr/>
            </a:lvl3pPr>
            <a:lvl4pPr marL="364160" indent="0">
              <a:buNone/>
              <a:defRPr/>
            </a:lvl4pPr>
            <a:lvl5pPr marL="54624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6026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7" y="1189177"/>
            <a:ext cx="9468487" cy="1660647"/>
          </a:xfrm>
        </p:spPr>
        <p:txBody>
          <a:bodyPr>
            <a:spAutoFit/>
          </a:bodyPr>
          <a:lstStyle>
            <a:lvl1pPr>
              <a:defRPr sz="286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7171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7" y="1189177"/>
            <a:ext cx="9468487" cy="1660647"/>
          </a:xfrm>
        </p:spPr>
        <p:txBody>
          <a:bodyPr>
            <a:spAutoFit/>
          </a:bodyPr>
          <a:lstStyle>
            <a:lvl1pPr>
              <a:defRPr sz="2867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1260299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8" y="1189175"/>
            <a:ext cx="4370070" cy="1562607"/>
          </a:xfrm>
        </p:spPr>
        <p:txBody>
          <a:bodyPr wrap="square">
            <a:spAutoFit/>
          </a:bodyPr>
          <a:lstStyle>
            <a:lvl1pPr marL="0" indent="0">
              <a:spcBef>
                <a:spcPts val="975"/>
              </a:spcBef>
              <a:buClr>
                <a:schemeClr val="tx1"/>
              </a:buClr>
              <a:buFont typeface="Wingdings" pitchFamily="2" charset="2"/>
              <a:buNone/>
              <a:defRPr sz="254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593"/>
            </a:lvl2pPr>
            <a:lvl3pPr marL="184609" indent="0">
              <a:buNone/>
              <a:tabLst/>
              <a:defRPr sz="1593"/>
            </a:lvl3pPr>
            <a:lvl4pPr marL="366689" indent="0">
              <a:buNone/>
              <a:defRPr/>
            </a:lvl4pPr>
            <a:lvl5pPr marL="54624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17174" y="1189175"/>
            <a:ext cx="4370070" cy="1562607"/>
          </a:xfrm>
        </p:spPr>
        <p:txBody>
          <a:bodyPr wrap="square">
            <a:spAutoFit/>
          </a:bodyPr>
          <a:lstStyle>
            <a:lvl1pPr marL="0" indent="0">
              <a:spcBef>
                <a:spcPts val="975"/>
              </a:spcBef>
              <a:buClr>
                <a:schemeClr val="tx1"/>
              </a:buClr>
              <a:buFont typeface="Wingdings" pitchFamily="2" charset="2"/>
              <a:buNone/>
              <a:defRPr sz="254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593"/>
            </a:lvl2pPr>
            <a:lvl3pPr marL="184609" indent="0">
              <a:buNone/>
              <a:tabLst/>
              <a:defRPr sz="1593"/>
            </a:lvl3pPr>
            <a:lvl4pPr marL="366689" indent="0">
              <a:buNone/>
              <a:defRPr/>
            </a:lvl4pPr>
            <a:lvl5pPr marL="54624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615366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8" y="1189175"/>
            <a:ext cx="4370070" cy="1562607"/>
          </a:xfrm>
        </p:spPr>
        <p:txBody>
          <a:bodyPr wrap="square">
            <a:spAutoFit/>
          </a:bodyPr>
          <a:lstStyle>
            <a:lvl1pPr marL="0" indent="0">
              <a:spcBef>
                <a:spcPts val="975"/>
              </a:spcBef>
              <a:buClr>
                <a:schemeClr val="tx1"/>
              </a:buClr>
              <a:buFont typeface="Wingdings" pitchFamily="2" charset="2"/>
              <a:buNone/>
              <a:defRPr sz="2549"/>
            </a:lvl1pPr>
            <a:lvl2pPr marL="0" indent="0">
              <a:buNone/>
              <a:defRPr sz="1593"/>
            </a:lvl2pPr>
            <a:lvl3pPr marL="184609" indent="0">
              <a:buNone/>
              <a:tabLst/>
              <a:defRPr sz="1593"/>
            </a:lvl3pPr>
            <a:lvl4pPr marL="366689" indent="0">
              <a:buNone/>
              <a:defRPr/>
            </a:lvl4pPr>
            <a:lvl5pPr marL="54624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17174" y="1189175"/>
            <a:ext cx="4370070" cy="1562607"/>
          </a:xfrm>
        </p:spPr>
        <p:txBody>
          <a:bodyPr wrap="square">
            <a:spAutoFit/>
          </a:bodyPr>
          <a:lstStyle>
            <a:lvl1pPr marL="0" indent="0">
              <a:spcBef>
                <a:spcPts val="975"/>
              </a:spcBef>
              <a:buClr>
                <a:schemeClr val="tx1"/>
              </a:buClr>
              <a:buFont typeface="Wingdings" pitchFamily="2" charset="2"/>
              <a:buNone/>
              <a:defRPr sz="2549"/>
            </a:lvl1pPr>
            <a:lvl2pPr marL="0" indent="0">
              <a:buNone/>
              <a:defRPr sz="1593"/>
            </a:lvl2pPr>
            <a:lvl3pPr marL="184609" indent="0">
              <a:buNone/>
              <a:tabLst/>
              <a:defRPr sz="1593"/>
            </a:lvl3pPr>
            <a:lvl4pPr marL="366689" indent="0">
              <a:buNone/>
              <a:defRPr/>
            </a:lvl4pPr>
            <a:lvl5pPr marL="54624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0666068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8" y="1189176"/>
            <a:ext cx="4370070" cy="1616596"/>
          </a:xfrm>
        </p:spPr>
        <p:txBody>
          <a:bodyPr wrap="square">
            <a:spAutoFit/>
          </a:bodyPr>
          <a:lstStyle>
            <a:lvl1pPr marL="228865" indent="-228865">
              <a:spcBef>
                <a:spcPts val="975"/>
              </a:spcBef>
              <a:buClr>
                <a:schemeClr val="tx2"/>
              </a:buClr>
              <a:buFont typeface="Arial" pitchFamily="34" charset="0"/>
              <a:buChar char="•"/>
              <a:defRPr sz="254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423074" indent="-185740">
              <a:defRPr sz="1912"/>
            </a:lvl2pPr>
            <a:lvl3pPr marL="557219" indent="-134146">
              <a:tabLst/>
              <a:defRPr sz="1593"/>
            </a:lvl3pPr>
            <a:lvl4pPr marL="701683" indent="-144464">
              <a:defRPr/>
            </a:lvl4pPr>
            <a:lvl5pPr marL="835829" indent="-134146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17174" y="1189176"/>
            <a:ext cx="4370070" cy="1616596"/>
          </a:xfrm>
        </p:spPr>
        <p:txBody>
          <a:bodyPr wrap="square">
            <a:spAutoFit/>
          </a:bodyPr>
          <a:lstStyle>
            <a:lvl1pPr marL="228865" indent="-228865">
              <a:spcBef>
                <a:spcPts val="975"/>
              </a:spcBef>
              <a:buClr>
                <a:schemeClr val="tx2"/>
              </a:buClr>
              <a:buFont typeface="Arial" pitchFamily="34" charset="0"/>
              <a:buChar char="•"/>
              <a:defRPr sz="254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423074" indent="-185740">
              <a:defRPr sz="1912"/>
            </a:lvl2pPr>
            <a:lvl3pPr marL="557219" indent="-134146">
              <a:tabLst/>
              <a:defRPr sz="1593"/>
            </a:lvl3pPr>
            <a:lvl4pPr marL="701683" indent="-144464">
              <a:defRPr/>
            </a:lvl4pPr>
            <a:lvl5pPr marL="835829" indent="-134146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128390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8" y="1189176"/>
            <a:ext cx="4370070" cy="1616596"/>
          </a:xfrm>
        </p:spPr>
        <p:txBody>
          <a:bodyPr wrap="square">
            <a:spAutoFit/>
          </a:bodyPr>
          <a:lstStyle>
            <a:lvl1pPr marL="228865" indent="-228865">
              <a:spcBef>
                <a:spcPts val="975"/>
              </a:spcBef>
              <a:buClr>
                <a:schemeClr val="tx1"/>
              </a:buClr>
              <a:buFont typeface="Arial" pitchFamily="34" charset="0"/>
              <a:buChar char="•"/>
              <a:defRPr sz="2549"/>
            </a:lvl1pPr>
            <a:lvl2pPr marL="423074" indent="-185740">
              <a:defRPr sz="1912"/>
            </a:lvl2pPr>
            <a:lvl3pPr marL="557219" indent="-134146">
              <a:tabLst/>
              <a:defRPr sz="1593"/>
            </a:lvl3pPr>
            <a:lvl4pPr marL="701683" indent="-144464">
              <a:defRPr/>
            </a:lvl4pPr>
            <a:lvl5pPr marL="835829" indent="-134146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317174" y="1189176"/>
            <a:ext cx="4370070" cy="1616596"/>
          </a:xfrm>
        </p:spPr>
        <p:txBody>
          <a:bodyPr wrap="square">
            <a:spAutoFit/>
          </a:bodyPr>
          <a:lstStyle>
            <a:lvl1pPr marL="228865" indent="-228865">
              <a:spcBef>
                <a:spcPts val="975"/>
              </a:spcBef>
              <a:buClr>
                <a:schemeClr val="tx1"/>
              </a:buClr>
              <a:buFont typeface="Arial" pitchFamily="34" charset="0"/>
              <a:buChar char="•"/>
              <a:defRPr sz="2549"/>
            </a:lvl1pPr>
            <a:lvl2pPr marL="423074" indent="-185740">
              <a:defRPr sz="1912"/>
            </a:lvl2pPr>
            <a:lvl3pPr marL="557219" indent="-134146">
              <a:tabLst/>
              <a:defRPr sz="1593"/>
            </a:lvl3pPr>
            <a:lvl4pPr marL="701683" indent="-144464">
              <a:defRPr/>
            </a:lvl4pPr>
            <a:lvl5pPr marL="835829" indent="-134146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681294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696252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enari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860879" y="3877276"/>
            <a:ext cx="8045121" cy="2980724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5669" tIns="116535" rIns="145669" bIns="1165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860879" y="1187621"/>
            <a:ext cx="8045121" cy="2689656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45669" tIns="116535" rIns="145669" bIns="116535" numCol="1" rtlCol="0" anchor="t" anchorCtr="0" compatLnSpc="1">
            <a:prstTxWarp prst="textNoShape">
              <a:avLst/>
            </a:prstTxWarp>
          </a:bodyPr>
          <a:lstStyle/>
          <a:p>
            <a:pPr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861327" y="1187621"/>
            <a:ext cx="8044673" cy="2689656"/>
          </a:xfrm>
        </p:spPr>
        <p:txBody>
          <a:bodyPr>
            <a:noAutofit/>
          </a:bodyPr>
          <a:lstStyle>
            <a:lvl1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23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593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5200" indent="0">
              <a:buNone/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861327" y="3877276"/>
            <a:ext cx="8044673" cy="2689656"/>
          </a:xfrm>
        </p:spPr>
        <p:txBody>
          <a:bodyPr>
            <a:noAutofit/>
          </a:bodyPr>
          <a:lstStyle>
            <a:lvl1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23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593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5200" indent="0">
              <a:buNone/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1187621"/>
            <a:ext cx="1860877" cy="268965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</p:spPr>
        <p:txBody>
          <a:bodyPr lIns="182880" tIns="146304" rIns="182880" bIns="146304" anchor="b">
            <a:noAutofit/>
          </a:bodyPr>
          <a:lstStyle>
            <a:lvl1pPr marL="0" indent="0">
              <a:buNone/>
              <a:defRPr sz="1593">
                <a:gradFill>
                  <a:gsLst>
                    <a:gs pos="18584">
                      <a:srgbClr val="FFFFFF"/>
                    </a:gs>
                    <a:gs pos="7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2637340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enari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-3344" y="3877276"/>
            <a:ext cx="9909344" cy="2980724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4173" tIns="116535" rIns="145669" bIns="11653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860879" y="1187621"/>
            <a:ext cx="8045121" cy="134482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45669" tIns="116535" rIns="145669" bIns="116535" numCol="1" rtlCol="0" anchor="t" anchorCtr="0" compatLnSpc="1">
            <a:prstTxWarp prst="textNoShape">
              <a:avLst/>
            </a:prstTxWarp>
          </a:bodyPr>
          <a:lstStyle/>
          <a:p>
            <a:pPr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1860879" y="2532448"/>
            <a:ext cx="8045121" cy="134482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45669" tIns="116535" rIns="145669" bIns="116535" numCol="1" rtlCol="0" anchor="t" anchorCtr="0" compatLnSpc="1">
            <a:prstTxWarp prst="textNoShape">
              <a:avLst/>
            </a:prstTxWarp>
          </a:bodyPr>
          <a:lstStyle/>
          <a:p>
            <a:pPr defTabSz="742714" fontAlgn="base">
              <a:spcBef>
                <a:spcPct val="0"/>
              </a:spcBef>
              <a:spcAft>
                <a:spcPct val="0"/>
              </a:spcAft>
            </a:pPr>
            <a:endParaRPr lang="en-US" sz="159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861327" y="2532448"/>
            <a:ext cx="8044673" cy="1344828"/>
          </a:xfrm>
        </p:spPr>
        <p:txBody>
          <a:bodyPr>
            <a:noAutofit/>
          </a:bodyPr>
          <a:lstStyle>
            <a:lvl1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23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593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5200" indent="0">
              <a:buNone/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18759" y="3877276"/>
            <a:ext cx="9687242" cy="2689656"/>
          </a:xfrm>
        </p:spPr>
        <p:txBody>
          <a:bodyPr>
            <a:noAutofit/>
          </a:bodyPr>
          <a:lstStyle>
            <a:lvl1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23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593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5200" indent="0">
              <a:buNone/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1187621"/>
            <a:ext cx="1860877" cy="268965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</p:spPr>
        <p:txBody>
          <a:bodyPr lIns="182880" tIns="146304" rIns="182880" bIns="146304" anchor="b">
            <a:noAutofit/>
          </a:bodyPr>
          <a:lstStyle>
            <a:lvl1pPr marL="0" indent="0">
              <a:buNone/>
              <a:defRPr sz="1593">
                <a:gradFill>
                  <a:gsLst>
                    <a:gs pos="18584">
                      <a:srgbClr val="FFFFFF"/>
                    </a:gs>
                    <a:gs pos="7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861327" y="1187621"/>
            <a:ext cx="8044673" cy="1344828"/>
          </a:xfrm>
        </p:spPr>
        <p:txBody>
          <a:bodyPr>
            <a:noAutofit/>
          </a:bodyPr>
          <a:lstStyle>
            <a:lvl1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2230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 algn="l" defTabSz="742714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 lang="en-US" sz="1593" kern="12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5200" indent="0">
              <a:buNone/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3pPr>
            <a:lvl4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4pPr>
            <a:lvl5pPr>
              <a:defRPr>
                <a:gradFill>
                  <a:gsLst>
                    <a:gs pos="13274">
                      <a:srgbClr val="FFFFFF"/>
                    </a:gs>
                    <a:gs pos="39000">
                      <a:srgbClr val="FFFFFF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75872519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2137" y="289511"/>
            <a:ext cx="6556990" cy="899665"/>
          </a:xfrm>
        </p:spPr>
        <p:txBody>
          <a:bodyPr/>
          <a:lstStyle>
            <a:lvl1pPr>
              <a:defRPr sz="318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22632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182880" tIns="146304" rIns="182880" bIns="146304" anchor="b">
            <a:noAutofit/>
          </a:bodyPr>
          <a:lstStyle>
            <a:lvl1pPr marL="0" indent="0">
              <a:buNone/>
              <a:defRPr>
                <a:gradFill>
                  <a:gsLst>
                    <a:gs pos="18584">
                      <a:srgbClr val="FFFFFF"/>
                    </a:gs>
                    <a:gs pos="7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5033720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2137" y="289511"/>
            <a:ext cx="6556990" cy="899665"/>
          </a:xfrm>
        </p:spPr>
        <p:txBody>
          <a:bodyPr/>
          <a:lstStyle>
            <a:lvl1pPr>
              <a:defRPr sz="318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22632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182880" tIns="146304" rIns="182880" bIns="146304" anchor="b">
            <a:noAutofit/>
          </a:bodyPr>
          <a:lstStyle>
            <a:lvl1pPr marL="0" indent="0">
              <a:buNone/>
              <a:defRPr>
                <a:gradFill>
                  <a:gsLst>
                    <a:gs pos="18584">
                      <a:srgbClr val="FFFFFF"/>
                    </a:gs>
                    <a:gs pos="7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132137" y="1189176"/>
            <a:ext cx="6555107" cy="1572418"/>
          </a:xfrm>
        </p:spPr>
        <p:txBody>
          <a:bodyPr wrap="square">
            <a:spAutoFit/>
          </a:bodyPr>
          <a:lstStyle>
            <a:lvl1pPr marL="228865" indent="-228865">
              <a:spcBef>
                <a:spcPts val="975"/>
              </a:spcBef>
              <a:buClr>
                <a:schemeClr val="tx2"/>
              </a:buClr>
              <a:buFont typeface="Arial" pitchFamily="34" charset="0"/>
              <a:buChar char="•"/>
              <a:defRPr sz="2230">
                <a:gradFill>
                  <a:gsLst>
                    <a:gs pos="26549">
                      <a:schemeClr val="tx2"/>
                    </a:gs>
                    <a:gs pos="65000">
                      <a:schemeClr val="tx2"/>
                    </a:gs>
                  </a:gsLst>
                  <a:lin ang="5400000" scaled="0"/>
                </a:gradFill>
              </a:defRPr>
            </a:lvl1pPr>
            <a:lvl2pPr marL="423074" indent="-185740">
              <a:defRPr sz="1912"/>
            </a:lvl2pPr>
            <a:lvl3pPr marL="557219" indent="-134146">
              <a:tabLst/>
              <a:defRPr sz="1593"/>
            </a:lvl3pPr>
            <a:lvl4pPr marL="701683" indent="-144464">
              <a:defRPr/>
            </a:lvl4pPr>
            <a:lvl5pPr marL="835829" indent="-134146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9157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22632" cy="685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182880" tIns="146304" rIns="182880" bIns="146304" anchor="b">
            <a:noAutofit/>
          </a:bodyPr>
          <a:lstStyle>
            <a:lvl1pPr marL="0" indent="0">
              <a:buNone/>
              <a:defRPr>
                <a:gradFill>
                  <a:gsLst>
                    <a:gs pos="18584">
                      <a:srgbClr val="FFFFFF"/>
                    </a:gs>
                    <a:gs pos="70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6898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1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642232" y="-1"/>
            <a:ext cx="6263768" cy="478758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37168">
                      <a:srgbClr val="FFFFFF"/>
                    </a:gs>
                    <a:gs pos="7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7102" y="2084172"/>
            <a:ext cx="2694624" cy="2689656"/>
          </a:xfrm>
        </p:spPr>
        <p:txBody>
          <a:bodyPr>
            <a:noAutofit/>
          </a:bodyPr>
          <a:lstStyle>
            <a:lvl1pPr marL="0" indent="0">
              <a:buNone/>
              <a:defRPr sz="2230">
                <a:gradFill>
                  <a:gsLst>
                    <a:gs pos="15044">
                      <a:schemeClr val="accent2"/>
                    </a:gs>
                    <a:gs pos="30973">
                      <a:schemeClr val="accent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79407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2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3642232" y="-1"/>
            <a:ext cx="6263768" cy="4787588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37168">
                      <a:srgbClr val="FFFFFF"/>
                    </a:gs>
                    <a:gs pos="7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757" y="1749993"/>
            <a:ext cx="655840" cy="3026171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947102" y="2084172"/>
            <a:ext cx="2694624" cy="2689656"/>
          </a:xfrm>
        </p:spPr>
        <p:txBody>
          <a:bodyPr>
            <a:noAutofit/>
          </a:bodyPr>
          <a:lstStyle>
            <a:lvl1pPr marL="0" indent="0">
              <a:buNone/>
              <a:defRPr lang="en-US" sz="2230" kern="1200" spc="0" baseline="0" dirty="0">
                <a:gradFill>
                  <a:gsLst>
                    <a:gs pos="15044">
                      <a:schemeClr val="accent2"/>
                    </a:gs>
                    <a:gs pos="30973">
                      <a:schemeClr val="accent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marR="0" lvl="0" indent="0" algn="l" defTabSz="74292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Edit Master text styles</a:t>
            </a:r>
          </a:p>
          <a:p>
            <a:pPr marL="0" marR="0" lvl="1" indent="0" algn="l" defTabSz="742929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04752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 - Cont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4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Activity tit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8757" y="1189177"/>
            <a:ext cx="9468487" cy="1572418"/>
          </a:xfrm>
        </p:spPr>
        <p:txBody>
          <a:bodyPr>
            <a:spAutoFit/>
          </a:bodyPr>
          <a:lstStyle>
            <a:lvl1pPr>
              <a:defRPr sz="22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8757" y="291068"/>
            <a:ext cx="9468487" cy="898108"/>
          </a:xfrm>
        </p:spPr>
        <p:txBody>
          <a:bodyPr>
            <a:noAutofit/>
          </a:bodyPr>
          <a:lstStyle>
            <a:lvl1pPr marL="0" indent="0" algn="l" defTabSz="74292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86" b="0" kern="1200" cap="none" spc="-81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782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 -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4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Activity tit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53" y="-1"/>
            <a:ext cx="3860229" cy="478758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37168">
                      <a:srgbClr val="FFFFFF"/>
                    </a:gs>
                    <a:gs pos="7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38640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 - Photo &amp;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4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Activity tit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53" y="-1"/>
            <a:ext cx="3860229" cy="478758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>
                <a:gradFill>
                  <a:gsLst>
                    <a:gs pos="37168">
                      <a:srgbClr val="FFFFFF"/>
                    </a:gs>
                    <a:gs pos="71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981872" y="1189177"/>
            <a:ext cx="5705371" cy="1572418"/>
          </a:xfrm>
        </p:spPr>
        <p:txBody>
          <a:bodyPr wrap="square">
            <a:spAutoFit/>
          </a:bodyPr>
          <a:lstStyle>
            <a:lvl1pPr>
              <a:defRPr sz="223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981872" y="291068"/>
            <a:ext cx="5705371" cy="898108"/>
          </a:xfrm>
        </p:spPr>
        <p:txBody>
          <a:bodyPr>
            <a:noAutofit/>
          </a:bodyPr>
          <a:lstStyle>
            <a:lvl1pPr marL="0" indent="0" algn="l" defTabSz="74292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86" b="0" kern="1200" cap="none" spc="-81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2054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1"/>
          <a:ext cx="147061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47061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tivity slide -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778498"/>
            <a:ext cx="9906000" cy="957378"/>
          </a:xfrm>
          <a:solidFill>
            <a:schemeClr val="accent4"/>
          </a:solidFill>
        </p:spPr>
        <p:txBody>
          <a:bodyPr wrap="square" lIns="411480" tIns="146304" rIns="411480" bIns="146304" anchor="t" anchorCtr="0">
            <a:spAutoFit/>
          </a:bodyPr>
          <a:lstStyle>
            <a:lvl1pPr>
              <a:defRPr sz="4779" spc="-80" baseline="0">
                <a:gradFill>
                  <a:gsLst>
                    <a:gs pos="24779">
                      <a:srgbClr val="FFFFFF"/>
                    </a:gs>
                    <a:gs pos="76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Activity title</a:t>
            </a:r>
          </a:p>
        </p:txBody>
      </p:sp>
    </p:spTree>
    <p:extLst>
      <p:ext uri="{BB962C8B-B14F-4D97-AF65-F5344CB8AC3E}">
        <p14:creationId xmlns:p14="http://schemas.microsoft.com/office/powerpoint/2010/main" val="280767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-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906000" cy="6858000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7" y="4325553"/>
            <a:ext cx="9468487" cy="846578"/>
          </a:xfrm>
          <a:noFill/>
        </p:spPr>
        <p:txBody>
          <a:bodyPr tIns="91440" bIns="91440" anchor="t" anchorCtr="0">
            <a:spAutoFit/>
          </a:bodyPr>
          <a:lstStyle>
            <a:lvl1pPr>
              <a:defRPr sz="4779" spc="-8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18757" y="5321721"/>
            <a:ext cx="9468487" cy="1245211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1912" baseline="0">
                <a:gradFill>
                  <a:gsLst>
                    <a:gs pos="9735">
                      <a:srgbClr val="525252"/>
                    </a:gs>
                    <a:gs pos="62000">
                      <a:srgbClr val="525252"/>
                    </a:gs>
                  </a:gsLst>
                  <a:lin ang="5400000" scaled="0"/>
                </a:gra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Brief summary</a:t>
            </a:r>
          </a:p>
        </p:txBody>
      </p:sp>
    </p:spTree>
    <p:extLst>
      <p:ext uri="{BB962C8B-B14F-4D97-AF65-F5344CB8AC3E}">
        <p14:creationId xmlns:p14="http://schemas.microsoft.com/office/powerpoint/2010/main" val="2393351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7" y="2084172"/>
            <a:ext cx="9468487" cy="97898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735" spc="-80" baseline="0">
                <a:gradFill>
                  <a:gsLst>
                    <a:gs pos="30973">
                      <a:schemeClr val="tx1"/>
                    </a:gs>
                    <a:gs pos="64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565019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7" y="2084172"/>
            <a:ext cx="9468487" cy="97898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5735" spc="-8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0121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Teal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7" y="2084172"/>
            <a:ext cx="9468487" cy="978986"/>
          </a:xfrm>
          <a:noFill/>
        </p:spPr>
        <p:txBody>
          <a:bodyPr tIns="91440" bIns="91440" anchor="t" anchorCtr="0">
            <a:spAutoFit/>
          </a:bodyPr>
          <a:lstStyle>
            <a:lvl1pPr algn="l" defTabSz="74292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735" b="0" kern="1200" cap="none" spc="-80" baseline="0" dirty="0">
                <a:ln w="3175">
                  <a:noFill/>
                </a:ln>
                <a:gradFill>
                  <a:gsLst>
                    <a:gs pos="39823">
                      <a:schemeClr val="tx1"/>
                    </a:gs>
                    <a:gs pos="71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41135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7" y="2084172"/>
            <a:ext cx="9468487" cy="978986"/>
          </a:xfrm>
          <a:noFill/>
        </p:spPr>
        <p:txBody>
          <a:bodyPr tIns="91440" bIns="91440" anchor="t" anchorCtr="0">
            <a:spAutoFit/>
          </a:bodyPr>
          <a:lstStyle>
            <a:lvl1pPr algn="l" defTabSz="74292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735" b="0" kern="1200" cap="none" spc="-80" baseline="0" dirty="0">
                <a:ln w="3175">
                  <a:noFill/>
                </a:ln>
                <a:gradFill>
                  <a:gsLst>
                    <a:gs pos="39823">
                      <a:schemeClr val="tx1"/>
                    </a:gs>
                    <a:gs pos="71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97796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8758" y="1217195"/>
            <a:ext cx="4370070" cy="1640834"/>
          </a:xfrm>
        </p:spPr>
        <p:txBody>
          <a:bodyPr>
            <a:spAutoFit/>
          </a:bodyPr>
          <a:lstStyle>
            <a:lvl1pPr>
              <a:defRPr sz="5257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4954264" y="0"/>
            <a:ext cx="4951736" cy="68561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274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391388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28874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43822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106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29" Type="http://schemas.openxmlformats.org/officeDocument/2006/relationships/slideLayout" Target="../slideLayouts/slideLayout60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62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2" y="0"/>
            <a:ext cx="9905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41314" y="1495425"/>
            <a:ext cx="9223375" cy="4772025"/>
          </a:xfrm>
          <a:prstGeom prst="rect">
            <a:avLst/>
          </a:prstGeom>
        </p:spPr>
        <p:txBody>
          <a:bodyPr vert="horz" lIns="0" tIns="33059" rIns="33059" bIns="33059" rtlCol="0">
            <a:noAutofit/>
          </a:bodyPr>
          <a:lstStyle/>
          <a:p>
            <a:pPr lvl="0"/>
            <a:r>
              <a:rPr lang="en-US" noProof="0"/>
              <a:t>Click to edit Master text style</a:t>
            </a:r>
          </a:p>
          <a:p>
            <a:pPr lvl="1"/>
            <a:r>
              <a:rPr lang="en-US" noProof="0"/>
              <a:t>Text style level 2</a:t>
            </a:r>
          </a:p>
          <a:p>
            <a:pPr lvl="2"/>
            <a:r>
              <a:rPr lang="en-US" noProof="0"/>
              <a:t>Text style level 3</a:t>
            </a:r>
          </a:p>
          <a:p>
            <a:pPr lvl="3"/>
            <a:r>
              <a:rPr lang="en-US" noProof="0"/>
              <a:t>Text style level 4</a:t>
            </a: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3" y="676402"/>
            <a:ext cx="9905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cxnSp>
        <p:nvCxnSpPr>
          <p:cNvPr id="15" name="Straight Connector 5"/>
          <p:cNvCxnSpPr/>
          <p:nvPr>
            <p:custDataLst>
              <p:tags r:id="rId17"/>
            </p:custDataLst>
          </p:nvPr>
        </p:nvCxnSpPr>
        <p:spPr>
          <a:xfrm flipH="1">
            <a:off x="3" y="6362700"/>
            <a:ext cx="9905999" cy="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>
            <p:custDataLst>
              <p:tags r:id="rId18"/>
            </p:custDataLst>
          </p:nvPr>
        </p:nvSpPr>
        <p:spPr>
          <a:xfrm>
            <a:off x="9494342" y="6564210"/>
            <a:ext cx="110607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6A895693-0027-4F28-9367-92E39A51F51C}" type="slidenum">
              <a:rPr lang="en-US" sz="700" smtClean="0">
                <a:solidFill>
                  <a:schemeClr val="tx1"/>
                </a:solidFill>
              </a:rPr>
              <a:pPr algn="ctr"/>
              <a:t>‹#›</a:t>
            </a:fld>
            <a:endParaRPr lang="en-US" sz="70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322618" y="6411460"/>
            <a:ext cx="2439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|</a:t>
            </a:r>
            <a:endParaRPr lang="en-US" sz="4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281DA5-B2B9-0A4C-8B2E-8C791BFD149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718" y="6417558"/>
            <a:ext cx="401427" cy="40142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DF25E4-8F22-B649-9C9F-C816AF5F3BE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98" y="6391751"/>
            <a:ext cx="473496" cy="46624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83" r:id="rId2"/>
    <p:sldLayoutId id="2147483980" r:id="rId3"/>
    <p:sldLayoutId id="2147483965" r:id="rId4"/>
    <p:sldLayoutId id="2147483966" r:id="rId5"/>
    <p:sldLayoutId id="2147483962" r:id="rId6"/>
    <p:sldLayoutId id="2147483963" r:id="rId7"/>
    <p:sldLayoutId id="2147483964" r:id="rId8"/>
    <p:sldLayoutId id="2147483934" r:id="rId9"/>
    <p:sldLayoutId id="2147483986" r:id="rId10"/>
  </p:sldLayoutIdLst>
  <p:txStyles>
    <p:titleStyle>
      <a:lvl1pPr algn="l" defTabSz="914342" rtl="0" eaLnBrk="1" latinLnBrk="0" hangingPunct="1">
        <a:lnSpc>
          <a:spcPct val="85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Wingdings" pitchFamily="2" charset="2"/>
        <a:buChar char="§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342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342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Tx/>
        <a:buFont typeface="Courier New" pitchFamily="49" charset="0"/>
        <a:buChar char="o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624" indent="-193663" algn="l" defTabSz="914342" rtl="0" eaLnBrk="1" latinLnBrk="0" hangingPunct="1">
        <a:spcBef>
          <a:spcPts val="0"/>
        </a:spcBef>
        <a:buClr>
          <a:srgbClr val="B1B1B1"/>
        </a:buClr>
        <a:buFont typeface="Arial" pitchFamily="34" charset="0"/>
        <a:buChar char="–"/>
        <a:defRPr sz="170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441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12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3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4" indent="-228586" algn="l" defTabSz="9143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84127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  <p:sldLayoutId id="2147484006" r:id="rId19"/>
    <p:sldLayoutId id="2147484007" r:id="rId20"/>
    <p:sldLayoutId id="2147484009" r:id="rId21"/>
  </p:sldLayoutIdLst>
  <p:transition>
    <p:fade/>
  </p:transition>
  <p:hf hdr="0" ftr="0" dt="0"/>
  <p:txStyles>
    <p:titleStyle>
      <a:lvl1pPr algn="l" defTabSz="913022" rtl="0" eaLnBrk="1" latinLnBrk="0" hangingPunct="1">
        <a:lnSpc>
          <a:spcPct val="90000"/>
        </a:lnSpc>
        <a:spcBef>
          <a:spcPct val="0"/>
        </a:spcBef>
        <a:buNone/>
        <a:defRPr lang="en-US" sz="55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227" marR="0" indent="-339227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-71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247" marR="0" indent="-233021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342" marR="0" indent="-22509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342" algn="l"/>
        </a:tabLst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77" marR="0" indent="-23143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871" marR="0" indent="-22509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871" algn="l"/>
        </a:tabLst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0811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322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833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344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1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22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33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44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55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66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578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089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1892" y="228609"/>
            <a:ext cx="9060933" cy="74789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23179" y="1447809"/>
            <a:ext cx="9063514" cy="20559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7608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7" r:id="rId7"/>
    <p:sldLayoutId id="2147484018" r:id="rId8"/>
    <p:sldLayoutId id="2147484019" r:id="rId9"/>
    <p:sldLayoutId id="2147484020" r:id="rId10"/>
    <p:sldLayoutId id="2147484021" r:id="rId11"/>
    <p:sldLayoutId id="2147484022" r:id="rId12"/>
    <p:sldLayoutId id="2147484023" r:id="rId13"/>
    <p:sldLayoutId id="2147484024" r:id="rId14"/>
    <p:sldLayoutId id="2147484025" r:id="rId15"/>
    <p:sldLayoutId id="2147484026" r:id="rId16"/>
    <p:sldLayoutId id="2147484027" r:id="rId17"/>
    <p:sldLayoutId id="2147484028" r:id="rId18"/>
    <p:sldLayoutId id="2147484029" r:id="rId19"/>
    <p:sldLayoutId id="2147484030" r:id="rId20"/>
    <p:sldLayoutId id="2147484031" r:id="rId21"/>
    <p:sldLayoutId id="2147484032" r:id="rId22"/>
    <p:sldLayoutId id="2147484033" r:id="rId23"/>
    <p:sldLayoutId id="2147484034" r:id="rId24"/>
    <p:sldLayoutId id="2147484035" r:id="rId25"/>
    <p:sldLayoutId id="2147484036" r:id="rId26"/>
    <p:sldLayoutId id="2147484037" r:id="rId27"/>
    <p:sldLayoutId id="2147484038" r:id="rId28"/>
    <p:sldLayoutId id="2147484039" r:id="rId29"/>
    <p:sldLayoutId id="2147484040" r:id="rId30"/>
    <p:sldLayoutId id="2147484041" r:id="rId31"/>
  </p:sldLayoutIdLst>
  <p:transition>
    <p:fade/>
  </p:transition>
  <p:hf hdr="0" ftr="0" dt="0"/>
  <p:txStyles>
    <p:titleStyle>
      <a:lvl1pPr algn="l" defTabSz="913022" rtl="0" eaLnBrk="1" latinLnBrk="0" hangingPunct="1">
        <a:lnSpc>
          <a:spcPct val="90000"/>
        </a:lnSpc>
        <a:spcBef>
          <a:spcPct val="0"/>
        </a:spcBef>
        <a:buNone/>
        <a:defRPr lang="en-US" sz="5500" b="0" kern="1200" cap="none" spc="-100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227" marR="0" indent="-339227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00" kern="1200" spc="-71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247" marR="0" indent="-233021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7342" marR="0" indent="-22509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7342" algn="l"/>
        </a:tabLst>
        <a:defRPr sz="24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77" marR="0" indent="-23143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3871" marR="0" indent="-225094" algn="l" defTabSz="91302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3871" algn="l"/>
        </a:tabLst>
        <a:defRPr sz="2000" kern="1200" spc="0" baseline="0">
          <a:gradFill>
            <a:gsLst>
              <a:gs pos="1250">
                <a:schemeClr val="bg2"/>
              </a:gs>
              <a:gs pos="100000">
                <a:schemeClr val="bg2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0811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322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833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344" indent="-228256" algn="l" defTabSz="91302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11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22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33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44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55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66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578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089" algn="l" defTabSz="91302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8758" y="289511"/>
            <a:ext cx="947037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18758" y="1189178"/>
            <a:ext cx="9468486" cy="1660647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0051413" y="8224"/>
            <a:ext cx="777447" cy="5548081"/>
            <a:chOff x="12618971" y="8387"/>
            <a:chExt cx="976045" cy="5658529"/>
          </a:xfrm>
        </p:grpSpPr>
        <p:grpSp>
          <p:nvGrpSpPr>
            <p:cNvPr id="13" name="Group 12"/>
            <p:cNvGrpSpPr/>
            <p:nvPr userDrawn="1"/>
          </p:nvGrpSpPr>
          <p:grpSpPr>
            <a:xfrm rot="5400000">
              <a:off x="10104324" y="2523034"/>
              <a:ext cx="5658529" cy="629235"/>
              <a:chOff x="1586734" y="4543426"/>
              <a:chExt cx="5658529" cy="629235"/>
            </a:xfrm>
          </p:grpSpPr>
          <p:sp>
            <p:nvSpPr>
              <p:cNvPr id="17" name="Rectangle 16"/>
              <p:cNvSpPr/>
              <p:nvPr userDrawn="1"/>
            </p:nvSpPr>
            <p:spPr bwMode="auto">
              <a:xfrm>
                <a:off x="4542210" y="4543426"/>
                <a:ext cx="869930" cy="289766"/>
              </a:xfrm>
              <a:prstGeom prst="rect">
                <a:avLst/>
              </a:prstGeom>
              <a:solidFill>
                <a:srgbClr val="B4009E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Magenta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80 G:0 B:158</a:t>
                </a:r>
              </a:p>
            </p:txBody>
          </p:sp>
          <p:sp>
            <p:nvSpPr>
              <p:cNvPr id="19" name="Rectangle 18"/>
              <p:cNvSpPr/>
              <p:nvPr userDrawn="1"/>
            </p:nvSpPr>
            <p:spPr bwMode="auto">
              <a:xfrm>
                <a:off x="6375333" y="4543427"/>
                <a:ext cx="869930" cy="289766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77876">
                          <a:srgbClr val="1E1E1E"/>
                        </a:gs>
                        <a:gs pos="47000">
                          <a:srgbClr val="1E1E1E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77876">
                          <a:srgbClr val="1E1E1E"/>
                        </a:gs>
                        <a:gs pos="47000">
                          <a:srgbClr val="1E1E1E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20" name="Rectangle 19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Dark Blue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32 B:80</a:t>
                </a:r>
              </a:p>
            </p:txBody>
          </p:sp>
          <p:sp>
            <p:nvSpPr>
              <p:cNvPr id="21" name="Rectangle 2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Orange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16 G:59 B:1</a:t>
                </a:r>
              </a:p>
            </p:txBody>
          </p:sp>
          <p:sp>
            <p:nvSpPr>
              <p:cNvPr id="22" name="Rectangle 21"/>
              <p:cNvSpPr/>
              <p:nvPr userDrawn="1"/>
            </p:nvSpPr>
            <p:spPr bwMode="auto">
              <a:xfrm>
                <a:off x="3419856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Teal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30 B:114</a:t>
                </a:r>
              </a:p>
            </p:txBody>
          </p:sp>
          <p:sp>
            <p:nvSpPr>
              <p:cNvPr id="23" name="Rectangle 22"/>
              <p:cNvSpPr/>
              <p:nvPr userDrawn="1"/>
            </p:nvSpPr>
            <p:spPr bwMode="auto">
              <a:xfrm>
                <a:off x="1586734" y="4882895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Purple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92 G:45 B:145</a:t>
                </a:r>
              </a:p>
            </p:txBody>
          </p:sp>
          <p:sp>
            <p:nvSpPr>
              <p:cNvPr id="25" name="Rectangle 24"/>
              <p:cNvSpPr/>
              <p:nvPr userDrawn="1"/>
            </p:nvSpPr>
            <p:spPr bwMode="auto">
              <a:xfrm>
                <a:off x="3419857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Green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882895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14" name="Rectangle 13"/>
              <p:cNvSpPr/>
              <p:nvPr userDrawn="1"/>
            </p:nvSpPr>
            <p:spPr bwMode="auto">
              <a:xfrm>
                <a:off x="5458772" y="4543428"/>
                <a:ext cx="869930" cy="289766"/>
              </a:xfrm>
              <a:prstGeom prst="rect">
                <a:avLst/>
              </a:prstGeom>
              <a:solidFill>
                <a:srgbClr val="E8112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 b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ed</a:t>
                </a:r>
              </a:p>
              <a:p>
                <a:pPr defTabSz="742714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98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232 G:17 B:35</a:t>
                </a:r>
              </a:p>
            </p:txBody>
          </p:sp>
        </p:grpSp>
        <p:sp>
          <p:nvSpPr>
            <p:cNvPr id="15" name="TextBox 14"/>
            <p:cNvSpPr txBox="1"/>
            <p:nvPr userDrawn="1"/>
          </p:nvSpPr>
          <p:spPr>
            <a:xfrm rot="5400000">
              <a:off x="13055664" y="236521"/>
              <a:ext cx="708245" cy="370459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742929">
                <a:lnSpc>
                  <a:spcPct val="90000"/>
                </a:lnSpc>
                <a:spcAft>
                  <a:spcPts val="478"/>
                </a:spcAft>
              </a:pPr>
              <a:r>
                <a:rPr lang="en-US" sz="797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Main colors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 rot="5400000">
              <a:off x="12931411" y="3340647"/>
              <a:ext cx="956752" cy="370459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defTabSz="742929">
                <a:lnSpc>
                  <a:spcPct val="90000"/>
                </a:lnSpc>
                <a:spcAft>
                  <a:spcPts val="478"/>
                </a:spcAft>
              </a:pPr>
              <a:r>
                <a:rPr lang="en-US" sz="797">
                  <a:gradFill>
                    <a:gsLst>
                      <a:gs pos="2917">
                        <a:srgbClr val="505050"/>
                      </a:gs>
                      <a:gs pos="30000">
                        <a:srgbClr val="505050"/>
                      </a:gs>
                    </a:gsLst>
                    <a:lin ang="5400000" scaled="0"/>
                  </a:gradFill>
                </a:rPr>
                <a:t>Secondary col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472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054" r:id="rId12"/>
    <p:sldLayoutId id="2147484055" r:id="rId13"/>
    <p:sldLayoutId id="2147484056" r:id="rId14"/>
    <p:sldLayoutId id="2147484057" r:id="rId15"/>
    <p:sldLayoutId id="2147484058" r:id="rId16"/>
    <p:sldLayoutId id="2147484059" r:id="rId17"/>
    <p:sldLayoutId id="2147484060" r:id="rId18"/>
    <p:sldLayoutId id="2147484061" r:id="rId19"/>
    <p:sldLayoutId id="2147484062" r:id="rId20"/>
    <p:sldLayoutId id="2147484063" r:id="rId21"/>
    <p:sldLayoutId id="2147484064" r:id="rId22"/>
    <p:sldLayoutId id="2147484065" r:id="rId23"/>
    <p:sldLayoutId id="2147484066" r:id="rId24"/>
    <p:sldLayoutId id="2147484067" r:id="rId25"/>
    <p:sldLayoutId id="2147484068" r:id="rId26"/>
    <p:sldLayoutId id="2147484069" r:id="rId27"/>
    <p:sldLayoutId id="2147484070" r:id="rId28"/>
    <p:sldLayoutId id="2147484071" r:id="rId29"/>
    <p:sldLayoutId id="2147484072" r:id="rId30"/>
    <p:sldLayoutId id="2147484073" r:id="rId31"/>
    <p:sldLayoutId id="2147484074" r:id="rId32"/>
    <p:sldLayoutId id="2147484075" r:id="rId33"/>
    <p:sldLayoutId id="2147484076" r:id="rId34"/>
    <p:sldLayoutId id="2147484077" r:id="rId35"/>
    <p:sldLayoutId id="2147484078" r:id="rId36"/>
    <p:sldLayoutId id="2147484079" r:id="rId37"/>
    <p:sldLayoutId id="2147484080" r:id="rId38"/>
    <p:sldLayoutId id="2147484081" r:id="rId39"/>
    <p:sldLayoutId id="2147484082" r:id="rId40"/>
    <p:sldLayoutId id="2147484083" r:id="rId41"/>
    <p:sldLayoutId id="2147484084" r:id="rId42"/>
  </p:sldLayoutIdLst>
  <p:transition>
    <p:fade/>
  </p:transition>
  <p:txStyles>
    <p:titleStyle>
      <a:lvl1pPr algn="l" defTabSz="742929" rtl="0" eaLnBrk="1" latinLnBrk="0" hangingPunct="1">
        <a:lnSpc>
          <a:spcPct val="90000"/>
        </a:lnSpc>
        <a:spcBef>
          <a:spcPct val="0"/>
        </a:spcBef>
        <a:buNone/>
        <a:defRPr lang="en-US" sz="3823" b="0" kern="1200" cap="none" spc="-8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73120" marR="0" indent="-273120" algn="l" defTabSz="74292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86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65315" marR="0" indent="-192195" algn="l" defTabSz="74292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1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37280" marR="0" indent="-182080" algn="l" defTabSz="74292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19360" marR="0" indent="-182080" algn="l" defTabSz="74292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3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01439" marR="0" indent="-182080" algn="l" defTabSz="742929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34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043054" indent="-185733" algn="l" defTabSz="742929" rtl="0" eaLnBrk="1" latinLnBrk="0" hangingPunct="1">
        <a:spcBef>
          <a:spcPct val="20000"/>
        </a:spcBef>
        <a:buFont typeface="Arial" pitchFamily="34" charset="0"/>
        <a:buChar char="•"/>
        <a:defRPr sz="159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20" indent="-185733" algn="l" defTabSz="742929" rtl="0" eaLnBrk="1" latinLnBrk="0" hangingPunct="1">
        <a:spcBef>
          <a:spcPct val="20000"/>
        </a:spcBef>
        <a:buFont typeface="Arial" pitchFamily="34" charset="0"/>
        <a:buChar char="•"/>
        <a:defRPr sz="1593" kern="1200">
          <a:solidFill>
            <a:schemeClr val="tx1"/>
          </a:solidFill>
          <a:latin typeface="+mn-lt"/>
          <a:ea typeface="+mn-ea"/>
          <a:cs typeface="+mn-cs"/>
        </a:defRPr>
      </a:lvl7pPr>
      <a:lvl8pPr marL="2785984" indent="-185733" algn="l" defTabSz="742929" rtl="0" eaLnBrk="1" latinLnBrk="0" hangingPunct="1">
        <a:spcBef>
          <a:spcPct val="20000"/>
        </a:spcBef>
        <a:buFont typeface="Arial" pitchFamily="34" charset="0"/>
        <a:buChar char="•"/>
        <a:defRPr sz="1593" kern="1200">
          <a:solidFill>
            <a:schemeClr val="tx1"/>
          </a:solidFill>
          <a:latin typeface="+mn-lt"/>
          <a:ea typeface="+mn-ea"/>
          <a:cs typeface="+mn-cs"/>
        </a:defRPr>
      </a:lvl8pPr>
      <a:lvl9pPr marL="3157449" indent="-185733" algn="l" defTabSz="742929" rtl="0" eaLnBrk="1" latinLnBrk="0" hangingPunct="1">
        <a:spcBef>
          <a:spcPct val="20000"/>
        </a:spcBef>
        <a:buFont typeface="Arial" pitchFamily="34" charset="0"/>
        <a:buChar char="•"/>
        <a:defRPr sz="159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1pPr>
      <a:lvl2pPr marL="371465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2pPr>
      <a:lvl3pPr marL="742929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4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8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3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7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7pPr>
      <a:lvl8pPr marL="2600252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8pPr>
      <a:lvl9pPr marL="2971717" algn="l" defTabSz="742929" rtl="0" eaLnBrk="1" latinLnBrk="0" hangingPunct="1">
        <a:defRPr sz="143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0325" y="6309320"/>
            <a:ext cx="480207" cy="2880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3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defTabSz="990570"/>
            <a:fld id="{DAF489CC-3B7A-4DA5-A8C0-4984788D0EC5}" type="slidenum">
              <a:rPr lang="nl-NL" smtClean="0">
                <a:solidFill>
                  <a:prstClr val="black"/>
                </a:solidFill>
              </a:rPr>
              <a:pPr defTabSz="990570"/>
              <a:t>‹#›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10" name="AddCustomFooter#1"/>
          <p:cNvSpPr txBox="1"/>
          <p:nvPr userDrawn="1"/>
        </p:nvSpPr>
        <p:spPr>
          <a:xfrm>
            <a:off x="256425" y="6306484"/>
            <a:ext cx="4112023" cy="4256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90570"/>
            <a:r>
              <a:rPr lang="en-US" sz="1083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       | dd-mm-yyyy | Author | © Atos - For internal use </a:t>
            </a:r>
          </a:p>
          <a:p>
            <a:pPr defTabSz="990570"/>
            <a:r>
              <a:rPr lang="en-US" sz="1083">
                <a:solidFill>
                  <a:prstClr val="black"/>
                </a:solidFill>
                <a:ea typeface="Verdana" pitchFamily="34" charset="0"/>
                <a:cs typeface="Verdana" pitchFamily="34" charset="0"/>
              </a:rPr>
              <a:t>GBU | Division | Department </a:t>
            </a:r>
            <a:endParaRPr lang="nl-NL" sz="1083">
              <a:solidFill>
                <a:prstClr val="black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234529" y="1454400"/>
            <a:ext cx="9477000" cy="46332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l-NL"/>
              <a:t>First lev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234529" y="164637"/>
            <a:ext cx="9477000" cy="756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l-NL"/>
              <a:t>Click to edit the header</a:t>
            </a:r>
          </a:p>
        </p:txBody>
      </p:sp>
    </p:spTree>
    <p:extLst>
      <p:ext uri="{BB962C8B-B14F-4D97-AF65-F5344CB8AC3E}">
        <p14:creationId xmlns:p14="http://schemas.microsoft.com/office/powerpoint/2010/main" val="2446289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099" r:id="rId14"/>
    <p:sldLayoutId id="2147484100" r:id="rId15"/>
    <p:sldLayoutId id="2147484101" r:id="rId16"/>
    <p:sldLayoutId id="2147484102" r:id="rId17"/>
    <p:sldLayoutId id="2147484103" r:id="rId18"/>
    <p:sldLayoutId id="2147484104" r:id="rId19"/>
    <p:sldLayoutId id="2147484105" r:id="rId20"/>
    <p:sldLayoutId id="2147484106" r:id="rId21"/>
    <p:sldLayoutId id="2147484107" r:id="rId22"/>
    <p:sldLayoutId id="2147484108" r:id="rId23"/>
    <p:sldLayoutId id="2147484109" r:id="rId24"/>
  </p:sldLayoutIdLst>
  <p:hf hdr="0" ftr="0" dt="0"/>
  <p:txStyles>
    <p:titleStyle>
      <a:lvl1pPr algn="l" defTabSz="990570" rtl="0" eaLnBrk="1" latinLnBrk="0" hangingPunct="1">
        <a:spcBef>
          <a:spcPct val="0"/>
        </a:spcBef>
        <a:buNone/>
        <a:defRPr sz="2600" b="1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292491" indent="-292491" algn="l" defTabSz="990570" rtl="0" eaLnBrk="1" latinLnBrk="0" hangingPunct="1">
        <a:spcBef>
          <a:spcPct val="20000"/>
        </a:spcBef>
        <a:buClr>
          <a:schemeClr val="tx2"/>
        </a:buClr>
        <a:buFont typeface="Lucida Sans Unicode" pitchFamily="34" charset="0"/>
        <a:buChar char="▶"/>
        <a:defRPr sz="17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584982" indent="-292491" algn="l" defTabSz="990570" rtl="0" eaLnBrk="1" latinLnBrk="0" hangingPunct="1">
        <a:spcBef>
          <a:spcPts val="416"/>
        </a:spcBef>
        <a:buClr>
          <a:schemeClr val="tx2"/>
        </a:buClr>
        <a:buFont typeface="Arial" pitchFamily="34" charset="0"/>
        <a:buChar char="–"/>
        <a:defRPr sz="17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877473" indent="-292491" algn="l" defTabSz="9905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733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169964" indent="-292491" algn="l" defTabSz="9905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733" kern="12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1462455" indent="-292491" algn="l" defTabSz="99057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1733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7.tiff"/><Relationship Id="rId4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9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tif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tif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-64395" y="736600"/>
            <a:ext cx="9906000" cy="1143000"/>
          </a:xfrm>
        </p:spPr>
        <p:txBody>
          <a:bodyPr/>
          <a:lstStyle/>
          <a:p>
            <a:pPr marL="0" indent="0" algn="ctr"/>
            <a:r>
              <a:rPr lang="en-US" b="0" dirty="0"/>
              <a:t>Election Security Assessment</a:t>
            </a:r>
            <a:br>
              <a:rPr lang="en-US" b="0" dirty="0"/>
            </a:br>
            <a:r>
              <a:rPr lang="en-US" b="0" dirty="0"/>
              <a:t>Status Up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324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DF97C-8E98-6A40-ACBE-719F4AE8D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tz Across Texas</a:t>
            </a:r>
          </a:p>
        </p:txBody>
      </p:sp>
      <p:pic>
        <p:nvPicPr>
          <p:cNvPr id="9" name="Picture 8" descr="A person flying through the air while standing on a sidewalk&#10;&#10;Description automatically generated">
            <a:extLst>
              <a:ext uri="{FF2B5EF4-FFF2-40B4-BE49-F238E27FC236}">
                <a16:creationId xmlns:a16="http://schemas.microsoft.com/office/drawing/2014/main" id="{B8BE7DC6-02D8-1546-B4AA-A68982D789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9543" y="1245908"/>
            <a:ext cx="3738500" cy="4984667"/>
          </a:xfrm>
          <a:prstGeom prst="rect">
            <a:avLst/>
          </a:prstGeom>
        </p:spPr>
      </p:pic>
      <p:pic>
        <p:nvPicPr>
          <p:cNvPr id="15" name="Picture 14" descr="A palm tree on a grassy field&#10;&#10;Description automatically generated">
            <a:extLst>
              <a:ext uri="{FF2B5EF4-FFF2-40B4-BE49-F238E27FC236}">
                <a16:creationId xmlns:a16="http://schemas.microsoft.com/office/drawing/2014/main" id="{B3BC8F9A-C21B-7A49-8DFA-78DB92BD32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29" y="1216054"/>
            <a:ext cx="3508911" cy="4678548"/>
          </a:xfrm>
          <a:prstGeom prst="rect">
            <a:avLst/>
          </a:prstGeom>
        </p:spPr>
      </p:pic>
      <p:pic>
        <p:nvPicPr>
          <p:cNvPr id="17" name="Picture 16" descr="A dirt road&#10;&#10;Description automatically generated">
            <a:extLst>
              <a:ext uri="{FF2B5EF4-FFF2-40B4-BE49-F238E27FC236}">
                <a16:creationId xmlns:a16="http://schemas.microsoft.com/office/drawing/2014/main" id="{94CA4C06-3431-E745-8707-A94094289E4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8387" y="1216054"/>
            <a:ext cx="2271156" cy="3028208"/>
          </a:xfrm>
          <a:prstGeom prst="rect">
            <a:avLst/>
          </a:prstGeom>
        </p:spPr>
      </p:pic>
      <p:pic>
        <p:nvPicPr>
          <p:cNvPr id="18" name="Content Placeholder 4" descr="A palm tree in front of a sunset&#10;&#10;Description automatically generated">
            <a:extLst>
              <a:ext uri="{FF2B5EF4-FFF2-40B4-BE49-F238E27FC236}">
                <a16:creationId xmlns:a16="http://schemas.microsoft.com/office/drawing/2014/main" id="{209BD6F6-F561-DA4F-A9AE-A1FADF972B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4231" y="3635816"/>
            <a:ext cx="3979467" cy="2594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58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C23CA-2538-4544-940B-C92990CFF0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ion Security Assessments (ESA)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0B437C8-17F2-794F-9E22-3029667D30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1725" y="1931277"/>
            <a:ext cx="4987637" cy="2137196"/>
          </a:xfrm>
        </p:spPr>
        <p:txBody>
          <a:bodyPr/>
          <a:lstStyle/>
          <a:p>
            <a:pPr fontAlgn="base"/>
            <a:r>
              <a:rPr lang="en-US" sz="1600" b="0" dirty="0"/>
              <a:t>98% of Counties have signed up</a:t>
            </a:r>
          </a:p>
          <a:p>
            <a:pPr fontAlgn="base"/>
            <a:r>
              <a:rPr lang="en-US" sz="1600" b="0" dirty="0"/>
              <a:t>85% of Counties have completed required Contracts</a:t>
            </a:r>
          </a:p>
          <a:p>
            <a:pPr fontAlgn="base"/>
            <a:r>
              <a:rPr lang="en-US" sz="1600" b="0" dirty="0"/>
              <a:t>28% of Counties have started/completed assessment</a:t>
            </a:r>
          </a:p>
          <a:p>
            <a:pPr fontAlgn="base"/>
            <a:r>
              <a:rPr lang="en-US" sz="1600" b="0" dirty="0"/>
              <a:t>177 Counties will be assessed over the next 6 months</a:t>
            </a:r>
          </a:p>
          <a:p>
            <a:pPr fontAlgn="base"/>
            <a:endParaRPr lang="en-US" sz="1600" b="0" dirty="0"/>
          </a:p>
          <a:p>
            <a:pPr marL="0" indent="0" fontAlgn="base">
              <a:buNone/>
            </a:pPr>
            <a:endParaRPr lang="en-US" sz="1400" b="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9E77168-4ABC-334D-BCC6-06BC1D27A7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080681"/>
              </p:ext>
            </p:extLst>
          </p:nvPr>
        </p:nvGraphicFramePr>
        <p:xfrm>
          <a:off x="583833" y="2090419"/>
          <a:ext cx="3492902" cy="22250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185408">
                  <a:extLst>
                    <a:ext uri="{9D8B030D-6E8A-4147-A177-3AD203B41FA5}">
                      <a16:colId xmlns:a16="http://schemas.microsoft.com/office/drawing/2014/main" val="3912068479"/>
                    </a:ext>
                  </a:extLst>
                </a:gridCol>
                <a:gridCol w="1307494">
                  <a:extLst>
                    <a:ext uri="{9D8B030D-6E8A-4147-A177-3AD203B41FA5}">
                      <a16:colId xmlns:a16="http://schemas.microsoft.com/office/drawing/2014/main" val="38095699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un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3109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rocess Not Star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2190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Waiting for Contra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9167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n Schedu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89744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In Progr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69366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omplete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9909963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6C7C826-4369-334E-A4FF-69D37F6326E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3028" y="5039630"/>
            <a:ext cx="1168336" cy="116833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E2F42E-270A-894C-B41F-AABDDF94DD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9520" y="5244601"/>
            <a:ext cx="1422205" cy="711103"/>
          </a:xfrm>
          <a:prstGeom prst="rect">
            <a:avLst/>
          </a:prstGeom>
        </p:spPr>
      </p:pic>
      <p:sp>
        <p:nvSpPr>
          <p:cNvPr id="12" name="object 18">
            <a:extLst>
              <a:ext uri="{FF2B5EF4-FFF2-40B4-BE49-F238E27FC236}">
                <a16:creationId xmlns:a16="http://schemas.microsoft.com/office/drawing/2014/main" id="{B3194D61-15D4-3447-AB3D-2159AE9D4425}"/>
              </a:ext>
            </a:extLst>
          </p:cNvPr>
          <p:cNvSpPr/>
          <p:nvPr/>
        </p:nvSpPr>
        <p:spPr>
          <a:xfrm>
            <a:off x="6947026" y="5010179"/>
            <a:ext cx="1579574" cy="103931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FCC659-E50C-3445-9E66-5E674BE93FB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64839" y="5039630"/>
            <a:ext cx="2109799" cy="103931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712289B-5D2E-654E-A0A9-1899A3C11751}"/>
              </a:ext>
            </a:extLst>
          </p:cNvPr>
          <p:cNvSpPr/>
          <p:nvPr/>
        </p:nvSpPr>
        <p:spPr>
          <a:xfrm>
            <a:off x="4756811" y="3863159"/>
            <a:ext cx="4565356" cy="70788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fontAlgn="base"/>
            <a:r>
              <a:rPr lang="en-US" sz="2000" dirty="0"/>
              <a:t>Please work with our schedulers when they call to lock in a time</a:t>
            </a:r>
          </a:p>
        </p:txBody>
      </p:sp>
    </p:spTree>
    <p:extLst>
      <p:ext uri="{BB962C8B-B14F-4D97-AF65-F5344CB8AC3E}">
        <p14:creationId xmlns:p14="http://schemas.microsoft.com/office/powerpoint/2010/main" val="2005176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49929D-B29B-3648-9F2C-9A25A6FE4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SA In Real Lif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0195AC7-98C4-AC48-8B71-A4912B82533D}"/>
              </a:ext>
            </a:extLst>
          </p:cNvPr>
          <p:cNvSpPr txBox="1">
            <a:spLocks/>
          </p:cNvSpPr>
          <p:nvPr/>
        </p:nvSpPr>
        <p:spPr>
          <a:xfrm>
            <a:off x="9986190" y="6387882"/>
            <a:ext cx="381000" cy="34925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7887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7756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6634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5510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94388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73265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52143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31021" algn="l" defTabSz="957756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82C891-48D9-C941-A88E-288325E5391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9D9ED00-AE16-B647-A919-19A447E5D928}"/>
              </a:ext>
            </a:extLst>
          </p:cNvPr>
          <p:cNvSpPr txBox="1"/>
          <p:nvPr/>
        </p:nvSpPr>
        <p:spPr>
          <a:xfrm>
            <a:off x="12172208" y="-136566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400" dirty="0" err="1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455B65D9-A029-0343-8061-DBDFD416A4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8167" y="1801255"/>
            <a:ext cx="4053049" cy="1854200"/>
          </a:xfrm>
        </p:spPr>
        <p:txBody>
          <a:bodyPr/>
          <a:lstStyle/>
          <a:p>
            <a:pPr marL="0" indent="0" algn="ctr" fontAlgn="base">
              <a:buNone/>
            </a:pPr>
            <a:r>
              <a:rPr lang="en-US" sz="2400" dirty="0"/>
              <a:t>Stephanie Garza  </a:t>
            </a:r>
          </a:p>
          <a:p>
            <a:pPr marL="0" indent="0" algn="ctr" fontAlgn="base">
              <a:buNone/>
            </a:pPr>
            <a:r>
              <a:rPr lang="en-US" sz="2400" b="0" dirty="0"/>
              <a:t>County Clerk</a:t>
            </a:r>
          </a:p>
          <a:p>
            <a:pPr marL="0" indent="0" algn="ctr" fontAlgn="base">
              <a:buNone/>
            </a:pPr>
            <a:r>
              <a:rPr lang="en-US" sz="2400" b="0" dirty="0"/>
              <a:t>Kleberg County, TX</a:t>
            </a:r>
          </a:p>
          <a:p>
            <a:pPr marL="0" indent="0" fontAlgn="base">
              <a:buNone/>
            </a:pPr>
            <a:endParaRPr lang="en-US" sz="1800" b="0" dirty="0"/>
          </a:p>
          <a:p>
            <a:pPr marL="0" indent="0" fontAlgn="base">
              <a:buNone/>
            </a:pPr>
            <a:endParaRPr lang="en-US" sz="1600" b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E5A2217-EE73-454B-9217-B8910B612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9666" y="3214138"/>
            <a:ext cx="2617436" cy="24808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88981A1-4584-6E44-ADE9-0006550645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118" y="2414842"/>
            <a:ext cx="4053049" cy="2672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370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935E97B-3B44-1844-9955-B6FD3060B0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9963" y="4448443"/>
            <a:ext cx="1350972" cy="176094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38C2AF-7292-A64A-A4B3-D970CB042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Happens in the ESA?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4B1ADF-799C-CE4C-BE88-181F9DC2989B}"/>
              </a:ext>
            </a:extLst>
          </p:cNvPr>
          <p:cNvSpPr/>
          <p:nvPr/>
        </p:nvSpPr>
        <p:spPr>
          <a:xfrm>
            <a:off x="420089" y="1425352"/>
            <a:ext cx="4638799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Process occurs over 2 day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Conversational Interviews 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Elections Administrator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Voter Registration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IT Leadership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Key Staff Member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Demonstration/Review of key parts of your election processe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Ballot Creation / Management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Voter Registration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Voting Machine Usage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Minimal IT Support is required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Understand how computers are setup and managed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Collect 24 hours of network traffic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Scan each computer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Physical Inspection &amp; Review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Tabulation Network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Building / Physical Security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EDA60D-70ED-BD48-95BA-F815B4905B35}"/>
              </a:ext>
            </a:extLst>
          </p:cNvPr>
          <p:cNvSpPr/>
          <p:nvPr/>
        </p:nvSpPr>
        <p:spPr>
          <a:xfrm>
            <a:off x="4953000" y="1425352"/>
            <a:ext cx="4953000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Review available Document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Election Processes or Procedure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IT Policie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Security Policie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/>
              <a:t>Follow-on Activitie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Social Engineering Emails &amp; Calls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Scans of your website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r>
              <a:rPr lang="en-US" sz="1400" dirty="0"/>
              <a:t>Review of the internet &amp; darknet</a:t>
            </a:r>
          </a:p>
          <a:p>
            <a:pPr marL="764628" lvl="1" indent="-285750" fontAlgn="base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C3F593-19B2-254F-97E9-E92B13FB84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8211" y="4163434"/>
            <a:ext cx="1350971" cy="175442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C3F7A4-C538-E54A-A033-F7D9F68B89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3202" y="3609539"/>
            <a:ext cx="1507320" cy="195747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22995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D5B9E-B0CD-8C4E-A795-C0DB1BFF7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xas Election Security Best Practices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FDFF5C6A-A4D2-0044-9FE5-9CAEC312B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163" y="1456919"/>
            <a:ext cx="3669476" cy="323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lang="en-US" altLang="en-US" sz="1400" b="1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ATA CLASSIFICATION</a:t>
            </a:r>
          </a:p>
          <a:p>
            <a:pPr marL="293688" marR="0" lvl="0" indent="-2936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en-US" altLang="en-US" sz="110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Confidential </a:t>
            </a:r>
          </a:p>
          <a:p>
            <a:pPr marL="293688" marR="0" lvl="0" indent="-2936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ensitive </a:t>
            </a:r>
          </a:p>
          <a:p>
            <a:pPr marL="293688" marR="0" lvl="0" indent="-2936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en-US" altLang="en-US" sz="110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ternal Use</a:t>
            </a:r>
          </a:p>
          <a:p>
            <a:pPr marL="293688" marR="0" lvl="0" indent="-2936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fidential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937250" algn="r"/>
              </a:tabLst>
            </a:pPr>
            <a:endParaRPr kumimoji="0" lang="en-US" altLang="en-US" sz="1100" i="0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r>
              <a:rPr lang="en-US" altLang="en-US" sz="1400" b="1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LICIES AND PROCESS</a:t>
            </a:r>
            <a:endParaRPr kumimoji="0" lang="en-US" altLang="en-US" sz="1400" b="1" i="0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93688" marR="0" lvl="0" indent="-29368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Create an authorized election written information security program (wisp)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2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Monitor continuously for threats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3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Perform vulnerability scanning and patch management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4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Classify and protect elections data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5.	Participate in security awareness training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6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Conduct election security assessments regularly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293688" marR="0" lvl="0" indent="-293688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7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Participate in the DHS MS-ISAC and EI-ISAC info sharing program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lang="en-US" altLang="en-US" sz="1100" dirty="0">
              <a:solidFill>
                <a:srgbClr val="404040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21B9E59B-B27A-1645-9FAC-DF6497A489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4989" y="1086485"/>
            <a:ext cx="4559848" cy="5155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lang="en-US" altLang="en-US" sz="1100" dirty="0">
              <a:solidFill>
                <a:srgbClr val="404040"/>
              </a:solidFill>
              <a:cs typeface="Arial" panose="020B0604020202020204" pitchFamily="34" charset="0"/>
            </a:endParaRPr>
          </a:p>
          <a:p>
            <a:pPr defTabSz="914400"/>
            <a:r>
              <a:rPr lang="en-US" altLang="en-US" sz="1400" b="1" dirty="0">
                <a:solidFill>
                  <a:srgbClr val="404040"/>
                </a:solidFill>
                <a:cs typeface="Arial" panose="020B0604020202020204" pitchFamily="34" charset="0"/>
              </a:rPr>
              <a:t>ELECTION PROCESS</a:t>
            </a:r>
            <a:endParaRPr lang="en-US" sz="1400" b="1" dirty="0"/>
          </a:p>
          <a:p>
            <a:pPr lvl="0" defTabSz="914400"/>
            <a:endParaRPr lang="en-US" altLang="en-US" sz="1000" dirty="0"/>
          </a:p>
          <a:p>
            <a:pPr marL="352425" lvl="0" indent="-352425" defTabSz="914400"/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8.</a:t>
            </a:r>
            <a:r>
              <a:rPr lang="en-US" altLang="en-US" sz="1100" dirty="0">
                <a:ea typeface="Yu Mincho" panose="02020400000000000000" pitchFamily="18" charset="-128"/>
                <a:cs typeface="Arial" panose="020B0604020202020204" pitchFamily="34" charset="0"/>
              </a:rPr>
              <a:t> 	Implement a two-person verification process</a:t>
            </a:r>
          </a:p>
          <a:p>
            <a:pPr marL="352425" lvl="0" indent="-352425" defTabSz="914400"/>
            <a:r>
              <a:rPr lang="en-US" altLang="en-US" sz="1100" dirty="0">
                <a:solidFill>
                  <a:srgbClr val="404040"/>
                </a:solidFill>
                <a:ea typeface="Yu Mincho" panose="02020400000000000000" pitchFamily="18" charset="-128"/>
                <a:cs typeface="Arial" panose="020B0604020202020204" pitchFamily="34" charset="0"/>
              </a:rPr>
              <a:t>9. 	</a:t>
            </a: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ection night reporting integrity</a:t>
            </a:r>
            <a:endParaRPr lang="en-US" altLang="en-US" sz="1100" dirty="0"/>
          </a:p>
          <a:p>
            <a:pPr marL="352425" lvl="0" indent="-352425" defTabSz="914400"/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0.</a:t>
            </a:r>
            <a:r>
              <a:rPr lang="en-US" altLang="en-US" sz="1100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ocument election processes</a:t>
            </a:r>
            <a:endParaRPr lang="en-US" altLang="en-US" sz="1100" dirty="0"/>
          </a:p>
          <a:p>
            <a:pPr marL="352425" lvl="0" indent="-352425" defTabSz="914400"/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1.</a:t>
            </a:r>
            <a:r>
              <a:rPr lang="en-US" altLang="en-US" sz="1100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hysically secure election offices and systems</a:t>
            </a:r>
            <a:endParaRPr lang="en-US" altLang="en-US" sz="1100" dirty="0"/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kumimoji="0" lang="en-US" altLang="en-US" sz="1400" b="1" i="0" strike="noStrike" cap="none" normalizeH="0" baseline="0" dirty="0">
              <a:ln>
                <a:noFill/>
              </a:ln>
              <a:solidFill>
                <a:srgbClr val="404040"/>
              </a:solidFill>
              <a:effectLst/>
              <a:cs typeface="Arial" panose="020B0604020202020204" pitchFamily="34" charset="0"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r>
              <a:rPr kumimoji="0" lang="en-US" altLang="en-US" sz="1400" b="1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cs typeface="Arial" panose="020B0604020202020204" pitchFamily="34" charset="0"/>
              </a:rPr>
              <a:t>NETWORK AND INFRASTRUCTURE</a:t>
            </a:r>
            <a:endParaRPr kumimoji="0" lang="en-US" altLang="en-US" sz="800" b="1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2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	Install a next generation firewall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3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Segment the network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4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Upgrade unsupported end-of-life operating systems and software.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5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Restrict network access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6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Use endpoint security solutions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7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mplement software and network whitelisting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8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Secure wireless networks and devices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9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Backup data offsite using encryption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0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Encrypt election and voter information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1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Manage removable media use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2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Track inventory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lang="en-US" altLang="en-US" sz="800" dirty="0"/>
          </a:p>
          <a:p>
            <a:pPr defTabSz="914400"/>
            <a:r>
              <a:rPr lang="en-US" altLang="en-US" sz="1400" b="1" dirty="0">
                <a:solidFill>
                  <a:srgbClr val="404040"/>
                </a:solidFill>
                <a:cs typeface="Arial" panose="020B0604020202020204" pitchFamily="34" charset="0"/>
              </a:rPr>
              <a:t>SUPPORTING TECHNOLOGY</a:t>
            </a:r>
            <a:endParaRPr lang="en-US" altLang="en-US" sz="200" b="1" dirty="0"/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3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Control email and website domain addresses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en-US" altLang="en-US" sz="1100" dirty="0">
                <a:solidFill>
                  <a:srgbClr val="40404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4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mplement email security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25.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Passwords and multi-factor authentication (MFA)</a:t>
            </a: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52425" marR="0" lvl="0" indent="-352425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kumimoji="0" lang="en-US" altLang="en-US" sz="1100" b="0" i="0" strike="noStrike" cap="none" normalizeH="0" baseline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26.</a:t>
            </a:r>
            <a:r>
              <a:rPr kumimoji="0" lang="en-US" altLang="en-US" sz="1100" b="0" i="0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 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	</a:t>
            </a:r>
            <a:r>
              <a:rPr kumimoji="0" lang="en-US" altLang="en-US" sz="1100" b="0" i="0" strike="noStrike" cap="none" normalizeH="0" baseline="0" dirty="0">
                <a:ln>
                  <a:noFill/>
                </a:ln>
                <a:solidFill>
                  <a:srgbClr val="40404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Limit administrator access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937250" algn="r"/>
              </a:tabLst>
            </a:pPr>
            <a:endParaRPr kumimoji="0" lang="en-US" altLang="en-US" sz="800" b="0" i="0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379CBAF-1D66-AA43-A0B2-3B5FC46BF8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650" y="4683531"/>
            <a:ext cx="2890404" cy="143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537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4F24BFE-FA4C-FB40-9E06-0F7B6ED6F4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5445" y="2231984"/>
            <a:ext cx="3701647" cy="26844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1FD7E24-EB51-CE44-9B0D-7A6FA7354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57" y="178130"/>
            <a:ext cx="9905999" cy="1002135"/>
          </a:xfrm>
        </p:spPr>
        <p:txBody>
          <a:bodyPr/>
          <a:lstStyle/>
          <a:p>
            <a:r>
              <a:rPr lang="en-US" dirty="0"/>
              <a:t>Election Security Policies &amp; Plan Templat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85D59E-E505-3B4B-A8B1-8F21AF83C7D2}"/>
              </a:ext>
            </a:extLst>
          </p:cNvPr>
          <p:cNvSpPr txBox="1"/>
          <p:nvPr/>
        </p:nvSpPr>
        <p:spPr>
          <a:xfrm>
            <a:off x="404906" y="1465273"/>
            <a:ext cx="6696539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Election Information Security Policy</a:t>
            </a:r>
            <a:endParaRPr lang="en-US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Specific Policies to be adapted and authorized by Election departments</a:t>
            </a:r>
          </a:p>
          <a:p>
            <a:endParaRPr lang="en-US" sz="1800" b="1" dirty="0"/>
          </a:p>
          <a:p>
            <a:r>
              <a:rPr lang="en-US" sz="1800" b="1" dirty="0"/>
              <a:t>Incident Response Plan (IRP)</a:t>
            </a:r>
            <a:endParaRPr lang="en-US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Step-by-Step process to follow in case of Cybersecurity Incident</a:t>
            </a:r>
          </a:p>
          <a:p>
            <a:pPr marL="0" lvl="1"/>
            <a:endParaRPr lang="en-US" sz="1600" dirty="0"/>
          </a:p>
          <a:p>
            <a:r>
              <a:rPr lang="en-US" sz="1800" b="1" dirty="0"/>
              <a:t>Continuity of Operations Plan (COO)</a:t>
            </a:r>
            <a:endParaRPr lang="en-US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Preparations taken to be ready to continue operations</a:t>
            </a:r>
          </a:p>
          <a:p>
            <a:pPr marL="0" lvl="1"/>
            <a:endParaRPr lang="en-US" sz="1600" dirty="0"/>
          </a:p>
          <a:p>
            <a:r>
              <a:rPr lang="en-US" sz="1800" b="1" dirty="0"/>
              <a:t>Election System Security Plan (ESSP)</a:t>
            </a:r>
            <a:endParaRPr lang="en-US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Documentation of Specific Steps taken to secure a part of the election proces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800" b="1" dirty="0"/>
              <a:t>Vendor Risk Management Process </a:t>
            </a:r>
            <a:endParaRPr lang="en-US" sz="1600" b="1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Steps for procuring and managing products that are integral to the Election Proces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/>
          </a:p>
          <a:p>
            <a:pPr lvl="1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643108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0" dirty="0"/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2044995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6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pk8PYzpk.FktMHhDaT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iOYA.RlUiY0_0bhJg.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ZTlbzwhkOEBq_f4HJ0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3YXo3l0OkLMYAWunu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iS0.yx0EOD8F1j3NQr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lR2ZPdT0GiqzvYZsx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GmnlJWUybweSHRV5z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5iGtRqU02KNLCmPGz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8wFtNDQEWdRtOXF1Qy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FIJDhqukmiZrrs7RI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k8lAE_1EizYsNCWPJyz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6F_6IvUOzE1MWebP3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CAESggUqrdbLfjv5z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dxlhBv0miWYXN6H8B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Cdww2x_kWXwqqw_did_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3W3rhiEqWtBDEsi7X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l75Tp2nEy_4PpazGL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4oecJCE2aPB.u6loW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S Template">
  <a:themeElements>
    <a:clrScheme name="IBM-IOD">
      <a:dk1>
        <a:srgbClr val="2E2E2E"/>
      </a:dk1>
      <a:lt1>
        <a:srgbClr val="FFFFFF"/>
      </a:lt1>
      <a:dk2>
        <a:srgbClr val="263147"/>
      </a:dk2>
      <a:lt2>
        <a:srgbClr val="FFFFFF"/>
      </a:lt2>
      <a:accent1>
        <a:srgbClr val="003D69"/>
      </a:accent1>
      <a:accent2>
        <a:srgbClr val="0098CC"/>
      </a:accent2>
      <a:accent3>
        <a:srgbClr val="708EA8"/>
      </a:accent3>
      <a:accent4>
        <a:srgbClr val="BDBD00"/>
      </a:accent4>
      <a:accent5>
        <a:srgbClr val="ED771A"/>
      </a:accent5>
      <a:accent6>
        <a:srgbClr val="BCBCBC"/>
      </a:accent6>
      <a:hlink>
        <a:srgbClr val="007299"/>
      </a:hlink>
      <a:folHlink>
        <a:srgbClr val="B6580E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85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tx2"/>
        </a:solidFill>
        <a:ln w="635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>
                <a:lumMod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5-30055_SharePoint Template 2012 - 16x9 - Colored Accent Slides">
  <a:themeElements>
    <a:clrScheme name="Exchange-Lync-SharePoint_Template_2012_Acc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2C6"/>
      </a:accent1>
      <a:accent2>
        <a:srgbClr val="EB3C00"/>
      </a:accent2>
      <a:accent3>
        <a:srgbClr val="007233"/>
      </a:accent3>
      <a:accent4>
        <a:srgbClr val="00188F"/>
      </a:accent4>
      <a:accent5>
        <a:srgbClr val="68217A"/>
      </a:accent5>
      <a:accent6>
        <a:srgbClr val="505050"/>
      </a:accent6>
      <a:hlink>
        <a:srgbClr val="82CAFF"/>
      </a:hlink>
      <a:folHlink>
        <a:srgbClr val="C0E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harePoint Template 2012 - White Background">
  <a:themeElements>
    <a:clrScheme name="Exchange-Lync-SharePoint_Template_2012_Light">
      <a:dk1>
        <a:srgbClr val="000000"/>
      </a:dk1>
      <a:lt1>
        <a:srgbClr val="FFFFFF"/>
      </a:lt1>
      <a:dk2>
        <a:srgbClr val="0072C6"/>
      </a:dk2>
      <a:lt2>
        <a:srgbClr val="797A7D"/>
      </a:lt2>
      <a:accent1>
        <a:srgbClr val="0072C6"/>
      </a:accent1>
      <a:accent2>
        <a:srgbClr val="EB3C00"/>
      </a:accent2>
      <a:accent3>
        <a:srgbClr val="FFB900"/>
      </a:accent3>
      <a:accent4>
        <a:srgbClr val="505050"/>
      </a:accent4>
      <a:accent5>
        <a:srgbClr val="969696"/>
      </a:accent5>
      <a:accent6>
        <a:srgbClr val="D2D2D2"/>
      </a:accent6>
      <a:hlink>
        <a:srgbClr val="43AFFF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gradFill>
              <a:gsLst>
                <a:gs pos="2917">
                  <a:schemeClr val="bg2"/>
                </a:gs>
                <a:gs pos="95000">
                  <a:schemeClr val="bg2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-50052_Services_University_Template">
  <a:themeElements>
    <a:clrScheme name="Services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2050"/>
      </a:accent1>
      <a:accent2>
        <a:srgbClr val="D83B01"/>
      </a:accent2>
      <a:accent3>
        <a:srgbClr val="008272"/>
      </a:accent3>
      <a:accent4>
        <a:srgbClr val="5C2D91"/>
      </a:accent4>
      <a:accent5>
        <a:srgbClr val="0078D7"/>
      </a:accent5>
      <a:accent6>
        <a:srgbClr val="107C10"/>
      </a:accent6>
      <a:hlink>
        <a:srgbClr val="0059A2"/>
      </a:hlink>
      <a:folHlink>
        <a:srgbClr val="0059A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ervices_University_Custom_Template" id="{8007AD4C-376B-41C4-B820-6494D132C414}" vid="{3E38821F-4B3B-4530-9456-2554DBC83958}"/>
    </a:ext>
  </a:extLst>
</a:theme>
</file>

<file path=ppt/theme/theme5.xml><?xml version="1.0" encoding="utf-8"?>
<a:theme xmlns:a="http://schemas.openxmlformats.org/drawingml/2006/main" name="Atos v4.0">
  <a:themeElements>
    <a:clrScheme name="Atos Theme">
      <a:dk1>
        <a:sysClr val="windowText" lastClr="000000"/>
      </a:dk1>
      <a:lt1>
        <a:sysClr val="window" lastClr="FFFFFF"/>
      </a:lt1>
      <a:dk2>
        <a:srgbClr val="0066A1"/>
      </a:dk2>
      <a:lt2>
        <a:srgbClr val="829DC7"/>
      </a:lt2>
      <a:accent1>
        <a:srgbClr val="0066A1"/>
      </a:accent1>
      <a:accent2>
        <a:srgbClr val="829DC7"/>
      </a:accent2>
      <a:accent3>
        <a:srgbClr val="000000"/>
      </a:accent3>
      <a:accent4>
        <a:srgbClr val="808080"/>
      </a:accent4>
      <a:accent5>
        <a:srgbClr val="FFFFFF"/>
      </a:accent5>
      <a:accent6>
        <a:srgbClr val="BFBFBF"/>
      </a:accent6>
      <a:hlink>
        <a:srgbClr val="0066A1"/>
      </a:hlink>
      <a:folHlink>
        <a:srgbClr val="829DC7"/>
      </a:folHlink>
    </a:clrScheme>
    <a:fontScheme name="Atos Font PP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A58BC52D50504CA6A5A2323BB0CDCB" ma:contentTypeVersion="7" ma:contentTypeDescription="Create a new document." ma:contentTypeScope="" ma:versionID="e590628223bd1d5b3ba781f32b4684e8">
  <xsd:schema xmlns:xsd="http://www.w3.org/2001/XMLSchema" xmlns:xs="http://www.w3.org/2001/XMLSchema" xmlns:p="http://schemas.microsoft.com/office/2006/metadata/properties" xmlns:ns2="ce65c4ba-d0cb-4fd1-aa35-c4c7a6dff40a" xmlns:ns3="36048f7d-274d-4e84-ade0-3bd4d67519ec" targetNamespace="http://schemas.microsoft.com/office/2006/metadata/properties" ma:root="true" ma:fieldsID="1575b82bf7aca1a0da2869fd01348750" ns2:_="" ns3:_="">
    <xsd:import namespace="ce65c4ba-d0cb-4fd1-aa35-c4c7a6dff40a"/>
    <xsd:import namespace="36048f7d-274d-4e84-ade0-3bd4d67519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65c4ba-d0cb-4fd1-aa35-c4c7a6dff4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048f7d-274d-4e84-ade0-3bd4d67519e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0E1DB5-B4AE-4BF5-B25D-6BD08375D143}">
  <ds:schemaRefs>
    <ds:schemaRef ds:uri="http://www.w3.org/XML/1998/namespace"/>
    <ds:schemaRef ds:uri="http://schemas.microsoft.com/office/2006/documentManagement/types"/>
    <ds:schemaRef ds:uri="http://purl.org/dc/terms/"/>
    <ds:schemaRef ds:uri="36048f7d-274d-4e84-ade0-3bd4d67519ec"/>
    <ds:schemaRef ds:uri="http://purl.org/dc/elements/1.1/"/>
    <ds:schemaRef ds:uri="http://purl.org/dc/dcmitype/"/>
    <ds:schemaRef ds:uri="ce65c4ba-d0cb-4fd1-aa35-c4c7a6dff40a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D826FAC-B04D-472F-A584-B092DA3358E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20D60F-8582-43B0-9C85-1C03E057E2AB}">
  <ds:schemaRefs>
    <ds:schemaRef ds:uri="36048f7d-274d-4e84-ade0-3bd4d67519ec"/>
    <ds:schemaRef ds:uri="ce65c4ba-d0cb-4fd1-aa35-c4c7a6dff40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36</TotalTime>
  <Words>301</Words>
  <Application>Microsoft Office PowerPoint</Application>
  <PresentationFormat>A4 Paper (210x297 mm)</PresentationFormat>
  <Paragraphs>113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4" baseType="lpstr">
      <vt:lpstr>Arial</vt:lpstr>
      <vt:lpstr>Calibri</vt:lpstr>
      <vt:lpstr>Consolas</vt:lpstr>
      <vt:lpstr>Courier New</vt:lpstr>
      <vt:lpstr>Lucida Sans Unicode</vt:lpstr>
      <vt:lpstr>Segoe UI</vt:lpstr>
      <vt:lpstr>Segoe UI Light</vt:lpstr>
      <vt:lpstr>Segoe UI Semilight</vt:lpstr>
      <vt:lpstr>Verdana</vt:lpstr>
      <vt:lpstr>Wingdings</vt:lpstr>
      <vt:lpstr>DCS Template</vt:lpstr>
      <vt:lpstr>5-30055_SharePoint Template 2012 - 16x9 - Colored Accent Slides</vt:lpstr>
      <vt:lpstr>SharePoint Template 2012 - White Background</vt:lpstr>
      <vt:lpstr>5-50052_Services_University_Template</vt:lpstr>
      <vt:lpstr>Atos v4.0</vt:lpstr>
      <vt:lpstr>think-cell Slide</vt:lpstr>
      <vt:lpstr>PowerPoint Presentation</vt:lpstr>
      <vt:lpstr>Waltz Across Texas</vt:lpstr>
      <vt:lpstr>Election Security Assessments (ESA)</vt:lpstr>
      <vt:lpstr>The ESA In Real Life</vt:lpstr>
      <vt:lpstr>What Happens in the ESA? </vt:lpstr>
      <vt:lpstr>Texas Election Security Best Practices</vt:lpstr>
      <vt:lpstr>Election Security Policies &amp; Plan Templates</vt:lpstr>
      <vt:lpstr>PowerPoint Presentation</vt:lpstr>
    </vt:vector>
  </TitlesOfParts>
  <Company>Capgemin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1-30-2018 Radio Show</dc:title>
  <dc:creator>myles.cryer@capgemini.com</dc:creator>
  <cp:keywords>Radio Show</cp:keywords>
  <cp:lastModifiedBy>Five Star</cp:lastModifiedBy>
  <cp:revision>81</cp:revision>
  <cp:lastPrinted>2020-01-08T19:22:13Z</cp:lastPrinted>
  <dcterms:created xsi:type="dcterms:W3CDTF">2013-06-10T15:30:23Z</dcterms:created>
  <dcterms:modified xsi:type="dcterms:W3CDTF">2020-01-09T14:2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A58BC52D50504CA6A5A2323BB0CDCB</vt:lpwstr>
  </property>
</Properties>
</file>